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3" r:id="rId5"/>
    <p:sldMasterId id="2147483810" r:id="rId6"/>
    <p:sldMasterId id="2147483833" r:id="rId7"/>
    <p:sldMasterId id="2147483858" r:id="rId8"/>
    <p:sldMasterId id="2147483868" r:id="rId9"/>
    <p:sldMasterId id="2147483875" r:id="rId10"/>
  </p:sldMasterIdLst>
  <p:notesMasterIdLst>
    <p:notesMasterId r:id="rId20"/>
  </p:notesMasterIdLst>
  <p:sldIdLst>
    <p:sldId id="257" r:id="rId11"/>
    <p:sldId id="1717" r:id="rId12"/>
    <p:sldId id="1716" r:id="rId13"/>
    <p:sldId id="260" r:id="rId14"/>
    <p:sldId id="1713" r:id="rId15"/>
    <p:sldId id="1714" r:id="rId16"/>
    <p:sldId id="1715" r:id="rId17"/>
    <p:sldId id="1718" r:id="rId18"/>
    <p:sldId id="1466" r:id="rId19"/>
  </p:sldIdLst>
  <p:sldSz cx="9602788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6">
          <p15:clr>
            <a:srgbClr val="A4A3A4"/>
          </p15:clr>
        </p15:guide>
        <p15:guide id="3" orient="horz" pos="807">
          <p15:clr>
            <a:srgbClr val="A4A3A4"/>
          </p15:clr>
        </p15:guide>
        <p15:guide id="4" pos="5786">
          <p15:clr>
            <a:srgbClr val="A4A3A4"/>
          </p15:clr>
        </p15:guide>
        <p15:guide id="5" pos="257">
          <p15:clr>
            <a:srgbClr val="A4A3A4"/>
          </p15:clr>
        </p15:guide>
        <p15:guide id="6" pos="3023">
          <p15:clr>
            <a:srgbClr val="A4A3A4"/>
          </p15:clr>
        </p15:guide>
        <p15:guide id="7" pos="469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4F85"/>
    <a:srgbClr val="EE286B"/>
    <a:srgbClr val="FBAE17"/>
    <a:srgbClr val="0FB694"/>
    <a:srgbClr val="ED2C67"/>
    <a:srgbClr val="6F83C1"/>
    <a:srgbClr val="F2F2F2"/>
    <a:srgbClr val="F48132"/>
    <a:srgbClr val="48A342"/>
    <a:srgbClr val="F04E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 autoAdjust="0"/>
    <p:restoredTop sz="96547"/>
  </p:normalViewPr>
  <p:slideViewPr>
    <p:cSldViewPr snapToGrid="0" showGuides="1">
      <p:cViewPr>
        <p:scale>
          <a:sx n="70" d="100"/>
          <a:sy n="70" d="100"/>
        </p:scale>
        <p:origin x="1075" y="398"/>
      </p:cViewPr>
      <p:guideLst>
        <p:guide orient="horz" pos="3796"/>
        <p:guide orient="horz" pos="807"/>
        <p:guide pos="5786"/>
        <p:guide pos="257"/>
        <p:guide pos="3023"/>
        <p:guide pos="46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4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ubbleChart>
        <c:varyColors val="0"/>
        <c:ser>
          <c:idx val="0"/>
          <c:order val="0"/>
          <c:tx>
            <c:strRef>
              <c:f>'campus overall score'!$C$28</c:f>
              <c:strCache>
                <c:ptCount val="1"/>
                <c:pt idx="0">
                  <c:v>salary in Lacs</c:v>
                </c:pt>
              </c:strCache>
            </c:strRef>
          </c:tx>
          <c:spPr>
            <a:solidFill>
              <a:schemeClr val="accent6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B48F60D-184E-4F2C-B957-F091C36BB37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68D2-47D1-AAD1-A739C9CF693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D473AAB-41B5-4ED9-875C-DF58C67841B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68D2-47D1-AAD1-A739C9CF693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D96B877-4882-4DC0-AF19-30A3872AA94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68D2-47D1-AAD1-A739C9CF693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6D941FC-8A93-4099-8714-9CC37AB5D0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68D2-47D1-AAD1-A739C9CF693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6AF1E57-876E-4801-BB11-AE665C86F65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8D2-47D1-AAD1-A739C9CF6934}"/>
                </c:ext>
              </c:extLst>
            </c:dLbl>
            <c:dLbl>
              <c:idx val="5"/>
              <c:layout>
                <c:manualLayout>
                  <c:x val="-0.24484331214422833"/>
                  <c:y val="8.9216383600342716E-2"/>
                </c:manualLayout>
              </c:layout>
              <c:tx>
                <c:rich>
                  <a:bodyPr/>
                  <a:lstStyle/>
                  <a:p>
                    <a:fld id="{6F7E276D-9CDF-4D9A-8F24-B98D326879C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8D2-47D1-AAD1-A739C9CF693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699F2E3-7095-44A3-AF03-40331C62AD5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8D2-47D1-AAD1-A739C9CF6934}"/>
                </c:ext>
              </c:extLst>
            </c:dLbl>
            <c:dLbl>
              <c:idx val="7"/>
              <c:layout>
                <c:manualLayout>
                  <c:x val="-2.3856527849950449E-2"/>
                  <c:y val="-0.19436426427217526"/>
                </c:manualLayout>
              </c:layout>
              <c:tx>
                <c:rich>
                  <a:bodyPr/>
                  <a:lstStyle/>
                  <a:p>
                    <a:fld id="{5483D607-7EC4-4833-BAF3-97308FEC673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8D2-47D1-AAD1-A739C9CF693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9812CC3-5C62-47FE-8BC7-3020C40BD82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8D2-47D1-AAD1-A739C9CF69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campus overall score'!$D$29:$D$37</c:f>
              <c:numCache>
                <c:formatCode>0</c:formatCode>
                <c:ptCount val="9"/>
                <c:pt idx="0">
                  <c:v>53.549107142857146</c:v>
                </c:pt>
                <c:pt idx="1">
                  <c:v>44.890625</c:v>
                </c:pt>
                <c:pt idx="2">
                  <c:v>49.150485436893213</c:v>
                </c:pt>
                <c:pt idx="3">
                  <c:v>62.385057471264375</c:v>
                </c:pt>
                <c:pt idx="4">
                  <c:v>52.561728395061721</c:v>
                </c:pt>
                <c:pt idx="5">
                  <c:v>45.880281690140848</c:v>
                </c:pt>
                <c:pt idx="6">
                  <c:v>49.030612244897959</c:v>
                </c:pt>
                <c:pt idx="7">
                  <c:v>45.925925925925924</c:v>
                </c:pt>
                <c:pt idx="8">
                  <c:v>40.79545454545454</c:v>
                </c:pt>
              </c:numCache>
            </c:numRef>
          </c:xVal>
          <c:yVal>
            <c:numRef>
              <c:f>'campus overall score'!$C$29:$C$37</c:f>
              <c:numCache>
                <c:formatCode>General</c:formatCode>
                <c:ptCount val="9"/>
                <c:pt idx="0">
                  <c:v>12</c:v>
                </c:pt>
                <c:pt idx="1">
                  <c:v>6.8</c:v>
                </c:pt>
                <c:pt idx="2">
                  <c:v>9.4</c:v>
                </c:pt>
                <c:pt idx="3">
                  <c:v>11.2</c:v>
                </c:pt>
                <c:pt idx="4">
                  <c:v>12.8</c:v>
                </c:pt>
                <c:pt idx="5">
                  <c:v>10.6</c:v>
                </c:pt>
                <c:pt idx="6">
                  <c:v>11.1</c:v>
                </c:pt>
                <c:pt idx="7">
                  <c:v>10.4</c:v>
                </c:pt>
                <c:pt idx="8">
                  <c:v>15.5</c:v>
                </c:pt>
              </c:numCache>
            </c:numRef>
          </c:yVal>
          <c:bubbleSize>
            <c:numLit>
              <c:formatCode>General</c:formatCode>
              <c:ptCount val="9"/>
              <c:pt idx="0">
                <c:v>1</c:v>
              </c:pt>
              <c:pt idx="1">
                <c:v>1</c:v>
              </c:pt>
              <c:pt idx="2">
                <c:v>1</c:v>
              </c:pt>
              <c:pt idx="3">
                <c:v>1</c:v>
              </c:pt>
              <c:pt idx="4">
                <c:v>1</c:v>
              </c:pt>
              <c:pt idx="5">
                <c:v>1</c:v>
              </c:pt>
              <c:pt idx="6">
                <c:v>1</c:v>
              </c:pt>
              <c:pt idx="7">
                <c:v>1</c:v>
              </c:pt>
              <c:pt idx="8">
                <c:v>1</c:v>
              </c:pt>
            </c:numLit>
          </c:bubbleSize>
          <c:bubble3D val="0"/>
          <c:extLst>
            <c:ext xmlns:c15="http://schemas.microsoft.com/office/drawing/2012/chart" uri="{02D57815-91ED-43cb-92C2-25804820EDAC}">
              <c15:datalabelsRange>
                <c15:f>'campus overall score'!$B$29:$B$37</c15:f>
                <c15:dlblRangeCache>
                  <c:ptCount val="9"/>
                  <c:pt idx="0">
                    <c:v>IIT BHU</c:v>
                  </c:pt>
                  <c:pt idx="1">
                    <c:v>IIT ISM Dhanbad</c:v>
                  </c:pt>
                  <c:pt idx="2">
                    <c:v>IIT Madras</c:v>
                  </c:pt>
                  <c:pt idx="3">
                    <c:v>IIT Bombay</c:v>
                  </c:pt>
                  <c:pt idx="4">
                    <c:v>IIT Delhi</c:v>
                  </c:pt>
                  <c:pt idx="5">
                    <c:v>IIT Kharagpur</c:v>
                  </c:pt>
                  <c:pt idx="6">
                    <c:v>IIT Roorkee</c:v>
                  </c:pt>
                  <c:pt idx="7">
                    <c:v>IIT Guwahati</c:v>
                  </c:pt>
                  <c:pt idx="8">
                    <c:v>IIT Kanpu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68D2-47D1-AAD1-A739C9CF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89344031"/>
        <c:axId val="2054246687"/>
      </c:bubbleChart>
      <c:valAx>
        <c:axId val="289344031"/>
        <c:scaling>
          <c:orientation val="minMax"/>
          <c:min val="3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Campus Mean Sco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4246687"/>
        <c:crosses val="autoZero"/>
        <c:crossBetween val="midCat"/>
      </c:valAx>
      <c:valAx>
        <c:axId val="2054246687"/>
        <c:scaling>
          <c:orientation val="minMax"/>
          <c:max val="18"/>
          <c:min val="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Salary (in LPA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93440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ED7D31">
        <a:lumMod val="20000"/>
        <a:lumOff val="80000"/>
      </a:srgbClr>
    </a:solidFill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C4738-9AF8-4E84-817C-AC46EF018A68}" type="datetimeFigureOut">
              <a:rPr lang="en-GB" smtClean="0"/>
              <a:t>21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28700" y="685800"/>
            <a:ext cx="48006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61C6A-B723-4626-8E07-ACAE984FA5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4266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6134100"/>
            <a:ext cx="9602788" cy="72390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grpSp>
        <p:nvGrpSpPr>
          <p:cNvPr id="17" name="MMC_CoverShape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601200" cy="6134100"/>
            <a:chOff x="0" y="0"/>
            <a:chExt cx="9601200" cy="6134100"/>
          </a:xfrm>
        </p:grpSpPr>
        <p:sp>
          <p:nvSpPr>
            <p:cNvPr id="4" name="CoverAnchorTriangle1"/>
            <p:cNvSpPr/>
            <p:nvPr userDrawn="1"/>
          </p:nvSpPr>
          <p:spPr>
            <a:xfrm>
              <a:off x="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overAnchorTriangle2"/>
            <p:cNvSpPr/>
            <p:nvPr userDrawn="1"/>
          </p:nvSpPr>
          <p:spPr>
            <a:xfrm>
              <a:off x="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overAnchorTriangle3"/>
            <p:cNvSpPr/>
            <p:nvPr userDrawn="1"/>
          </p:nvSpPr>
          <p:spPr>
            <a:xfrm>
              <a:off x="859790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overAnchorTriangle4"/>
            <p:cNvSpPr/>
            <p:nvPr userDrawn="1"/>
          </p:nvSpPr>
          <p:spPr>
            <a:xfrm>
              <a:off x="859790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overTriangle1"/>
            <p:cNvSpPr/>
            <p:nvPr userDrawn="1"/>
          </p:nvSpPr>
          <p:spPr>
            <a:xfrm flipV="1">
              <a:off x="8096250" y="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overTriangle2"/>
            <p:cNvSpPr/>
            <p:nvPr userDrawn="1"/>
          </p:nvSpPr>
          <p:spPr>
            <a:xfrm flipV="1">
              <a:off x="8597900" y="8763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overTriangle3"/>
            <p:cNvSpPr/>
            <p:nvPr userDrawn="1"/>
          </p:nvSpPr>
          <p:spPr>
            <a:xfrm>
              <a:off x="7594600" y="17526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overTriangle4"/>
            <p:cNvSpPr/>
            <p:nvPr userDrawn="1"/>
          </p:nvSpPr>
          <p:spPr>
            <a:xfrm flipV="1">
              <a:off x="7594600" y="26289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overTriangle5"/>
            <p:cNvSpPr/>
            <p:nvPr userDrawn="1"/>
          </p:nvSpPr>
          <p:spPr>
            <a:xfrm flipV="1">
              <a:off x="6591300" y="26289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CoverTriangle6"/>
            <p:cNvSpPr/>
            <p:nvPr userDrawn="1"/>
          </p:nvSpPr>
          <p:spPr>
            <a:xfrm flipV="1">
              <a:off x="8096250" y="35052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CoverTriangle7"/>
            <p:cNvSpPr/>
            <p:nvPr userDrawn="1"/>
          </p:nvSpPr>
          <p:spPr>
            <a:xfrm>
              <a:off x="7594600" y="52578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overTriangle8"/>
            <p:cNvSpPr/>
            <p:nvPr userDrawn="1"/>
          </p:nvSpPr>
          <p:spPr>
            <a:xfrm>
              <a:off x="6591300" y="52578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CoverTriangle9"/>
            <p:cNvSpPr/>
            <p:nvPr userDrawn="1"/>
          </p:nvSpPr>
          <p:spPr>
            <a:xfrm flipV="1">
              <a:off x="5588000" y="43815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6400" y="1242000"/>
            <a:ext cx="8164800" cy="367200"/>
          </a:xfrm>
        </p:spPr>
        <p:txBody>
          <a:bodyPr lIns="0" tIns="0" rIns="0" bIns="0">
            <a:spAutoFit/>
          </a:bodyPr>
          <a:lstStyle>
            <a:lvl1pPr>
              <a:defRPr sz="2800" cap="all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3600" y="1998000"/>
            <a:ext cx="4852800" cy="230400"/>
          </a:xfrm>
        </p:spPr>
        <p:txBody>
          <a:bodyPr wrap="none" lIns="0" tIns="0" rIns="0" bIns="0"/>
          <a:lstStyle>
            <a:lvl1pPr marL="0" indent="0" algn="l">
              <a:spcBef>
                <a:spcPts val="0"/>
              </a:spcBef>
              <a:buNone/>
              <a:defRPr sz="18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ATE HERE</a:t>
            </a:r>
          </a:p>
        </p:txBody>
      </p:sp>
      <p:sp>
        <p:nvSpPr>
          <p:cNvPr id="20" name="BrandTagline"/>
          <p:cNvSpPr txBox="1"/>
          <p:nvPr userDrawn="1"/>
        </p:nvSpPr>
        <p:spPr>
          <a:xfrm>
            <a:off x="412750" y="412750"/>
            <a:ext cx="3810000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1000" b="1" kern="100" cap="all" spc="200">
                <a:solidFill>
                  <a:schemeClr val="lt2"/>
                </a:solidFill>
                <a:latin typeface="Arial"/>
              </a:rPr>
              <a:t>Health Wealth Career</a:t>
            </a:r>
            <a:endParaRPr lang="en-GB" sz="1000" b="1" kern="100" cap="all" spc="200" dirty="0" err="1">
              <a:solidFill>
                <a:schemeClr val="lt2"/>
              </a:solidFill>
              <a:latin typeface="Arial"/>
            </a:endParaRPr>
          </a:p>
        </p:txBody>
      </p:sp>
      <p:pic>
        <p:nvPicPr>
          <p:cNvPr id="22" name="Picture 21" descr="A picture containing object&#10;&#10;Description automatically generated">
            <a:extLst>
              <a:ext uri="{FF2B5EF4-FFF2-40B4-BE49-F238E27FC236}">
                <a16:creationId xmlns:a16="http://schemas.microsoft.com/office/drawing/2014/main" id="{9BF79B20-6CBF-44BD-B612-2600991581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59" y="6277760"/>
            <a:ext cx="2254067" cy="4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271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Ruby">
    <p:bg>
      <p:bgPr>
        <a:solidFill>
          <a:srgbClr val="002C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C344362-C75E-884A-9AE3-ACA0626C7214}"/>
              </a:ext>
            </a:extLst>
          </p:cNvPr>
          <p:cNvSpPr/>
          <p:nvPr userDrawn="1"/>
        </p:nvSpPr>
        <p:spPr>
          <a:xfrm>
            <a:off x="4295553" y="-100013"/>
            <a:ext cx="5314124" cy="6386072"/>
          </a:xfrm>
          <a:custGeom>
            <a:avLst/>
            <a:gdLst>
              <a:gd name="connsiteX0" fmla="*/ 0 w 7102548"/>
              <a:gd name="connsiteY0" fmla="*/ 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0 w 7102548"/>
              <a:gd name="connsiteY4" fmla="*/ 0 h 7102549"/>
              <a:gd name="connsiteX0" fmla="*/ 3530010 w 7102548"/>
              <a:gd name="connsiteY0" fmla="*/ 3444949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530010 w 7102548"/>
              <a:gd name="connsiteY4" fmla="*/ 3444949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6868632 w 7102548"/>
              <a:gd name="connsiteY2" fmla="*/ 671977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081283 w 7102548"/>
              <a:gd name="connsiteY2" fmla="*/ 688989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17359 w 7081283"/>
              <a:gd name="connsiteY0" fmla="*/ 3657600 h 6889897"/>
              <a:gd name="connsiteX1" fmla="*/ 7081283 w 7081283"/>
              <a:gd name="connsiteY1" fmla="*/ 0 h 6889897"/>
              <a:gd name="connsiteX2" fmla="*/ 7060018 w 7081283"/>
              <a:gd name="connsiteY2" fmla="*/ 6889897 h 6889897"/>
              <a:gd name="connsiteX3" fmla="*/ 0 w 7081283"/>
              <a:gd name="connsiteY3" fmla="*/ 6889897 h 6889897"/>
              <a:gd name="connsiteX4" fmla="*/ 3317359 w 7081283"/>
              <a:gd name="connsiteY4" fmla="*/ 3657600 h 6889897"/>
              <a:gd name="connsiteX0" fmla="*/ 3253564 w 7017488"/>
              <a:gd name="connsiteY0" fmla="*/ 3657600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3253564 w 7017488"/>
              <a:gd name="connsiteY4" fmla="*/ 3657600 h 6889897"/>
              <a:gd name="connsiteX0" fmla="*/ 5167424 w 7017488"/>
              <a:gd name="connsiteY0" fmla="*/ 21265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5167424 w 7017488"/>
              <a:gd name="connsiteY4" fmla="*/ 21265 h 6889897"/>
              <a:gd name="connsiteX0" fmla="*/ 2934587 w 4784651"/>
              <a:gd name="connsiteY0" fmla="*/ 21265 h 6889897"/>
              <a:gd name="connsiteX1" fmla="*/ 4784651 w 4784651"/>
              <a:gd name="connsiteY1" fmla="*/ 0 h 6889897"/>
              <a:gd name="connsiteX2" fmla="*/ 4763386 w 4784651"/>
              <a:gd name="connsiteY2" fmla="*/ 6889897 h 6889897"/>
              <a:gd name="connsiteX3" fmla="*/ 0 w 4784651"/>
              <a:gd name="connsiteY3" fmla="*/ 6826101 h 6889897"/>
              <a:gd name="connsiteX4" fmla="*/ 2934587 w 4784651"/>
              <a:gd name="connsiteY4" fmla="*/ 21265 h 6889897"/>
              <a:gd name="connsiteX0" fmla="*/ 3891517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3891517 w 5741581"/>
              <a:gd name="connsiteY4" fmla="*/ 21265 h 6911161"/>
              <a:gd name="connsiteX0" fmla="*/ 4019108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4019108 w 5741581"/>
              <a:gd name="connsiteY4" fmla="*/ 21265 h 691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41581" h="6911161">
                <a:moveTo>
                  <a:pt x="4019108" y="21265"/>
                </a:moveTo>
                <a:lnTo>
                  <a:pt x="5741581" y="0"/>
                </a:lnTo>
                <a:cubicBezTo>
                  <a:pt x="5734493" y="2296632"/>
                  <a:pt x="5727404" y="4593265"/>
                  <a:pt x="5720316" y="6889897"/>
                </a:cubicBezTo>
                <a:lnTo>
                  <a:pt x="0" y="6911161"/>
                </a:lnTo>
                <a:lnTo>
                  <a:pt x="4019108" y="21265"/>
                </a:lnTo>
                <a:close/>
              </a:path>
            </a:pathLst>
          </a:custGeom>
          <a:blipFill dpi="0" rotWithShape="1">
            <a:blip r:embed="rId2"/>
            <a:srcRect/>
            <a:tile tx="-692150" ty="-596900" sx="50000" sy="50000" flip="none" algn="ctr"/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6387353"/>
            <a:ext cx="9602788" cy="470647"/>
          </a:xfrm>
          <a:prstGeom prst="rect">
            <a:avLst/>
          </a:prstGeom>
          <a:solidFill>
            <a:srgbClr val="002C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19" y="6461503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000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Isosceles Triangle 23">
            <a:extLst>
              <a:ext uri="{FF2B5EF4-FFF2-40B4-BE49-F238E27FC236}">
                <a16:creationId xmlns:a16="http://schemas.microsoft.com/office/drawing/2014/main" id="{C6B82853-D310-8943-9340-3A84414BB07F}"/>
              </a:ext>
            </a:extLst>
          </p:cNvPr>
          <p:cNvSpPr/>
          <p:nvPr userDrawn="1"/>
        </p:nvSpPr>
        <p:spPr>
          <a:xfrm>
            <a:off x="4295553" y="4778780"/>
            <a:ext cx="1748443" cy="1507279"/>
          </a:xfrm>
          <a:prstGeom prst="triangle">
            <a:avLst/>
          </a:prstGeom>
          <a:solidFill>
            <a:srgbClr val="0D6CA5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9" name="Isosceles Triangle 11">
            <a:extLst>
              <a:ext uri="{FF2B5EF4-FFF2-40B4-BE49-F238E27FC236}">
                <a16:creationId xmlns:a16="http://schemas.microsoft.com/office/drawing/2014/main" id="{1A7275F1-FCBC-7F42-AC84-E3937C24EACA}"/>
              </a:ext>
            </a:extLst>
          </p:cNvPr>
          <p:cNvSpPr/>
          <p:nvPr userDrawn="1"/>
        </p:nvSpPr>
        <p:spPr>
          <a:xfrm>
            <a:off x="5157865" y="3232456"/>
            <a:ext cx="1793737" cy="1546324"/>
          </a:xfrm>
          <a:prstGeom prst="triangle">
            <a:avLst/>
          </a:prstGeom>
          <a:solidFill>
            <a:srgbClr val="1297BB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1" name="Isosceles Triangle 24">
            <a:extLst>
              <a:ext uri="{FF2B5EF4-FFF2-40B4-BE49-F238E27FC236}">
                <a16:creationId xmlns:a16="http://schemas.microsoft.com/office/drawing/2014/main" id="{1B5C8EBB-2CF6-9748-BCB5-A89A410D5920}"/>
              </a:ext>
            </a:extLst>
          </p:cNvPr>
          <p:cNvSpPr/>
          <p:nvPr userDrawn="1"/>
        </p:nvSpPr>
        <p:spPr>
          <a:xfrm rot="10800000">
            <a:off x="6177213" y="0"/>
            <a:ext cx="1793737" cy="15463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48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447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Reverse">
    <p:bg>
      <p:bgPr>
        <a:solidFill>
          <a:srgbClr val="0331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347882"/>
            <a:ext cx="9602787" cy="2510118"/>
          </a:xfrm>
          <a:prstGeom prst="rect">
            <a:avLst/>
          </a:prstGeom>
          <a:solidFill>
            <a:srgbClr val="03316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7536" y="5742005"/>
            <a:ext cx="595214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endParaRPr lang="en-IN" sz="700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700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700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800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800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800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r>
              <a:rPr lang="en-US" sz="700" b="0" i="0" u="none" strike="noStrike" kern="1200" baseline="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© 2019 MERCER METTL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A5A07E-3887-0140-982E-04DA9AC8B781}"/>
              </a:ext>
            </a:extLst>
          </p:cNvPr>
          <p:cNvSpPr txBox="1"/>
          <p:nvPr userDrawn="1"/>
        </p:nvSpPr>
        <p:spPr>
          <a:xfrm>
            <a:off x="2002055" y="3081804"/>
            <a:ext cx="5640404" cy="811803"/>
          </a:xfrm>
          <a:prstGeom prst="rect">
            <a:avLst/>
          </a:prstGeom>
          <a:noFill/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r>
              <a:rPr lang="en-US" sz="2400" b="1" i="0" u="none" strike="noStrike" kern="1200" cap="all" spc="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ILD WINNING TEA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98699B-3934-4049-A671-CD2B685F7B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215" y="2195712"/>
            <a:ext cx="4356085" cy="86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81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790" y="2878074"/>
            <a:ext cx="509320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19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pphire -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4"/>
          <p:cNvSpPr>
            <a:spLocks noGrp="1"/>
          </p:cNvSpPr>
          <p:nvPr>
            <p:ph sz="quarter" idx="10"/>
          </p:nvPr>
        </p:nvSpPr>
        <p:spPr>
          <a:xfrm>
            <a:off x="407594" y="1277999"/>
            <a:ext cx="2366682" cy="4735191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/>
              <a:buNone/>
              <a:defRPr sz="1600"/>
            </a:lvl1pPr>
            <a:lvl2pPr marL="0" indent="0">
              <a:buClr>
                <a:schemeClr val="accent1"/>
              </a:buClr>
              <a:buFont typeface="Arial"/>
              <a:buNone/>
              <a:defRPr sz="1600"/>
            </a:lvl2pPr>
            <a:lvl3pPr marL="0" indent="0">
              <a:buClr>
                <a:schemeClr val="accent1"/>
              </a:buClr>
              <a:buFont typeface="Arial"/>
              <a:buNone/>
              <a:defRPr sz="1600"/>
            </a:lvl3pPr>
            <a:lvl4pPr marL="0" indent="0">
              <a:buClr>
                <a:schemeClr val="accent1"/>
              </a:buClr>
              <a:buFont typeface="Arial"/>
              <a:buNone/>
              <a:defRPr sz="1600"/>
            </a:lvl4pPr>
            <a:lvl5pPr marL="0" indent="0">
              <a:buClr>
                <a:schemeClr val="accent1"/>
              </a:buClr>
              <a:buFont typeface="Arial"/>
              <a:buNone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003264" y="1277471"/>
            <a:ext cx="6597935" cy="47363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5199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8AC48-78E0-45CA-8A00-470A7EECE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A1AC16-1E64-4CBB-ACF3-F44ED19E5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9410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89253-21DD-458F-A1A9-B4CBEF22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B3029-9CB3-4316-80B8-7E9940DFCD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50001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F3289-EE68-4F92-A3AF-11ACA7EE8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84B98-7988-4204-A138-9BE5A3A57E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4122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85C5E-460A-41F6-9A08-8FCE0E2F3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66FB8-1C78-4994-B538-9BB7A4D31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7397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>
            <a:extLst>
              <a:ext uri="{FF2B5EF4-FFF2-40B4-BE49-F238E27FC236}">
                <a16:creationId xmlns:a16="http://schemas.microsoft.com/office/drawing/2014/main" id="{08785965-FDD9-0541-A1FC-261404A67F5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05" t="19604" r="14395"/>
          <a:stretch/>
        </p:blipFill>
        <p:spPr bwMode="auto">
          <a:xfrm>
            <a:off x="2918643" y="-1"/>
            <a:ext cx="6684146" cy="5982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862E48EB-B1C4-A34B-A80A-4043685D5610}"/>
              </a:ext>
            </a:extLst>
          </p:cNvPr>
          <p:cNvSpPr/>
          <p:nvPr userDrawn="1"/>
        </p:nvSpPr>
        <p:spPr>
          <a:xfrm>
            <a:off x="-30335" y="-43066"/>
            <a:ext cx="7027348" cy="6450793"/>
          </a:xfrm>
          <a:custGeom>
            <a:avLst/>
            <a:gdLst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5000222 w 7432153"/>
              <a:gd name="connsiteY5" fmla="*/ 4160104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228228 w 7432153"/>
              <a:gd name="connsiteY5" fmla="*/ 3732885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562736 w 7432153"/>
              <a:gd name="connsiteY5" fmla="*/ 4904720 h 6146644"/>
              <a:gd name="connsiteX6" fmla="*/ 3833321 w 7432153"/>
              <a:gd name="connsiteY6" fmla="*/ 6146644 h 6146644"/>
              <a:gd name="connsiteX7" fmla="*/ 271083 w 7432153"/>
              <a:gd name="connsiteY7" fmla="*/ 6141147 h 6146644"/>
              <a:gd name="connsiteX8" fmla="*/ 271083 w 7432153"/>
              <a:gd name="connsiteY8" fmla="*/ 6146644 h 6146644"/>
              <a:gd name="connsiteX9" fmla="*/ 0 w 7432153"/>
              <a:gd name="connsiteY9" fmla="*/ 6146644 h 6146644"/>
              <a:gd name="connsiteX10" fmla="*/ 0 w 7432153"/>
              <a:gd name="connsiteY10" fmla="*/ 0 h 6146644"/>
              <a:gd name="connsiteX0" fmla="*/ 0 w 6662719"/>
              <a:gd name="connsiteY0" fmla="*/ 0 h 6146644"/>
              <a:gd name="connsiteX1" fmla="*/ 43123 w 6662719"/>
              <a:gd name="connsiteY1" fmla="*/ 0 h 6146644"/>
              <a:gd name="connsiteX2" fmla="*/ 271083 w 6662719"/>
              <a:gd name="connsiteY2" fmla="*/ 0 h 6146644"/>
              <a:gd name="connsiteX3" fmla="*/ 6662719 w 6662719"/>
              <a:gd name="connsiteY3" fmla="*/ 1315844 h 6146644"/>
              <a:gd name="connsiteX4" fmla="*/ 5286636 w 6662719"/>
              <a:gd name="connsiteY4" fmla="*/ 3675297 h 6146644"/>
              <a:gd name="connsiteX5" fmla="*/ 4562736 w 6662719"/>
              <a:gd name="connsiteY5" fmla="*/ 4904720 h 6146644"/>
              <a:gd name="connsiteX6" fmla="*/ 3833321 w 6662719"/>
              <a:gd name="connsiteY6" fmla="*/ 6146644 h 6146644"/>
              <a:gd name="connsiteX7" fmla="*/ 271083 w 6662719"/>
              <a:gd name="connsiteY7" fmla="*/ 6141147 h 6146644"/>
              <a:gd name="connsiteX8" fmla="*/ 271083 w 6662719"/>
              <a:gd name="connsiteY8" fmla="*/ 6146644 h 6146644"/>
              <a:gd name="connsiteX9" fmla="*/ 0 w 6662719"/>
              <a:gd name="connsiteY9" fmla="*/ 6146644 h 6146644"/>
              <a:gd name="connsiteX10" fmla="*/ 0 w 6662719"/>
              <a:gd name="connsiteY10" fmla="*/ 0 h 6146644"/>
              <a:gd name="connsiteX0" fmla="*/ 0 w 6662719"/>
              <a:gd name="connsiteY0" fmla="*/ 3590693 h 6146644"/>
              <a:gd name="connsiteX1" fmla="*/ 43123 w 6662719"/>
              <a:gd name="connsiteY1" fmla="*/ 0 h 6146644"/>
              <a:gd name="connsiteX2" fmla="*/ 271083 w 6662719"/>
              <a:gd name="connsiteY2" fmla="*/ 0 h 6146644"/>
              <a:gd name="connsiteX3" fmla="*/ 6662719 w 6662719"/>
              <a:gd name="connsiteY3" fmla="*/ 1315844 h 6146644"/>
              <a:gd name="connsiteX4" fmla="*/ 5286636 w 6662719"/>
              <a:gd name="connsiteY4" fmla="*/ 3675297 h 6146644"/>
              <a:gd name="connsiteX5" fmla="*/ 4562736 w 6662719"/>
              <a:gd name="connsiteY5" fmla="*/ 4904720 h 6146644"/>
              <a:gd name="connsiteX6" fmla="*/ 3833321 w 6662719"/>
              <a:gd name="connsiteY6" fmla="*/ 6146644 h 6146644"/>
              <a:gd name="connsiteX7" fmla="*/ 271083 w 6662719"/>
              <a:gd name="connsiteY7" fmla="*/ 6141147 h 6146644"/>
              <a:gd name="connsiteX8" fmla="*/ 271083 w 6662719"/>
              <a:gd name="connsiteY8" fmla="*/ 6146644 h 6146644"/>
              <a:gd name="connsiteX9" fmla="*/ 0 w 6662719"/>
              <a:gd name="connsiteY9" fmla="*/ 6146644 h 6146644"/>
              <a:gd name="connsiteX10" fmla="*/ 0 w 6662719"/>
              <a:gd name="connsiteY10" fmla="*/ 3590693 h 6146644"/>
              <a:gd name="connsiteX0" fmla="*/ 1482 w 6664201"/>
              <a:gd name="connsiteY0" fmla="*/ 3590693 h 6146644"/>
              <a:gd name="connsiteX1" fmla="*/ 0 w 6664201"/>
              <a:gd name="connsiteY1" fmla="*/ 1873405 h 6146644"/>
              <a:gd name="connsiteX2" fmla="*/ 272565 w 6664201"/>
              <a:gd name="connsiteY2" fmla="*/ 0 h 6146644"/>
              <a:gd name="connsiteX3" fmla="*/ 6664201 w 6664201"/>
              <a:gd name="connsiteY3" fmla="*/ 1315844 h 6146644"/>
              <a:gd name="connsiteX4" fmla="*/ 5288118 w 6664201"/>
              <a:gd name="connsiteY4" fmla="*/ 3675297 h 6146644"/>
              <a:gd name="connsiteX5" fmla="*/ 4564218 w 6664201"/>
              <a:gd name="connsiteY5" fmla="*/ 4904720 h 6146644"/>
              <a:gd name="connsiteX6" fmla="*/ 3834803 w 6664201"/>
              <a:gd name="connsiteY6" fmla="*/ 6146644 h 6146644"/>
              <a:gd name="connsiteX7" fmla="*/ 272565 w 6664201"/>
              <a:gd name="connsiteY7" fmla="*/ 6141147 h 6146644"/>
              <a:gd name="connsiteX8" fmla="*/ 272565 w 6664201"/>
              <a:gd name="connsiteY8" fmla="*/ 6146644 h 6146644"/>
              <a:gd name="connsiteX9" fmla="*/ 1482 w 6664201"/>
              <a:gd name="connsiteY9" fmla="*/ 6146644 h 6146644"/>
              <a:gd name="connsiteX10" fmla="*/ 1482 w 6664201"/>
              <a:gd name="connsiteY10" fmla="*/ 3590693 h 6146644"/>
              <a:gd name="connsiteX0" fmla="*/ 30000 w 6692719"/>
              <a:gd name="connsiteY0" fmla="*/ 2286000 h 4841951"/>
              <a:gd name="connsiteX1" fmla="*/ 28518 w 6692719"/>
              <a:gd name="connsiteY1" fmla="*/ 568712 h 4841951"/>
              <a:gd name="connsiteX2" fmla="*/ 0 w 6692719"/>
              <a:gd name="connsiteY2" fmla="*/ 0 h 4841951"/>
              <a:gd name="connsiteX3" fmla="*/ 6692719 w 6692719"/>
              <a:gd name="connsiteY3" fmla="*/ 11151 h 4841951"/>
              <a:gd name="connsiteX4" fmla="*/ 5316636 w 6692719"/>
              <a:gd name="connsiteY4" fmla="*/ 2370604 h 4841951"/>
              <a:gd name="connsiteX5" fmla="*/ 4592736 w 6692719"/>
              <a:gd name="connsiteY5" fmla="*/ 3600027 h 4841951"/>
              <a:gd name="connsiteX6" fmla="*/ 3863321 w 6692719"/>
              <a:gd name="connsiteY6" fmla="*/ 4841951 h 4841951"/>
              <a:gd name="connsiteX7" fmla="*/ 301083 w 6692719"/>
              <a:gd name="connsiteY7" fmla="*/ 4836454 h 4841951"/>
              <a:gd name="connsiteX8" fmla="*/ 301083 w 6692719"/>
              <a:gd name="connsiteY8" fmla="*/ 4841951 h 4841951"/>
              <a:gd name="connsiteX9" fmla="*/ 30000 w 6692719"/>
              <a:gd name="connsiteY9" fmla="*/ 4841951 h 4841951"/>
              <a:gd name="connsiteX10" fmla="*/ 30000 w 6692719"/>
              <a:gd name="connsiteY10" fmla="*/ 2286000 h 4841951"/>
              <a:gd name="connsiteX0" fmla="*/ 1482 w 6664201"/>
              <a:gd name="connsiteY0" fmla="*/ 2274849 h 4830800"/>
              <a:gd name="connsiteX1" fmla="*/ 0 w 6664201"/>
              <a:gd name="connsiteY1" fmla="*/ 557561 h 4830800"/>
              <a:gd name="connsiteX2" fmla="*/ 16087 w 6664201"/>
              <a:gd name="connsiteY2" fmla="*/ 1 h 4830800"/>
              <a:gd name="connsiteX3" fmla="*/ 6664201 w 6664201"/>
              <a:gd name="connsiteY3" fmla="*/ 0 h 4830800"/>
              <a:gd name="connsiteX4" fmla="*/ 5288118 w 6664201"/>
              <a:gd name="connsiteY4" fmla="*/ 2359453 h 4830800"/>
              <a:gd name="connsiteX5" fmla="*/ 4564218 w 6664201"/>
              <a:gd name="connsiteY5" fmla="*/ 3588876 h 4830800"/>
              <a:gd name="connsiteX6" fmla="*/ 3834803 w 6664201"/>
              <a:gd name="connsiteY6" fmla="*/ 4830800 h 4830800"/>
              <a:gd name="connsiteX7" fmla="*/ 272565 w 6664201"/>
              <a:gd name="connsiteY7" fmla="*/ 4825303 h 4830800"/>
              <a:gd name="connsiteX8" fmla="*/ 272565 w 6664201"/>
              <a:gd name="connsiteY8" fmla="*/ 4830800 h 4830800"/>
              <a:gd name="connsiteX9" fmla="*/ 1482 w 6664201"/>
              <a:gd name="connsiteY9" fmla="*/ 4830800 h 4830800"/>
              <a:gd name="connsiteX10" fmla="*/ 1482 w 6664201"/>
              <a:gd name="connsiteY10" fmla="*/ 2274849 h 4830800"/>
              <a:gd name="connsiteX0" fmla="*/ 1482 w 6664201"/>
              <a:gd name="connsiteY0" fmla="*/ 2274849 h 4830800"/>
              <a:gd name="connsiteX1" fmla="*/ 0 w 6664201"/>
              <a:gd name="connsiteY1" fmla="*/ 557561 h 4830800"/>
              <a:gd name="connsiteX2" fmla="*/ 4953 w 6664201"/>
              <a:gd name="connsiteY2" fmla="*/ 11135 h 4830800"/>
              <a:gd name="connsiteX3" fmla="*/ 6664201 w 6664201"/>
              <a:gd name="connsiteY3" fmla="*/ 0 h 4830800"/>
              <a:gd name="connsiteX4" fmla="*/ 5288118 w 6664201"/>
              <a:gd name="connsiteY4" fmla="*/ 2359453 h 4830800"/>
              <a:gd name="connsiteX5" fmla="*/ 4564218 w 6664201"/>
              <a:gd name="connsiteY5" fmla="*/ 3588876 h 4830800"/>
              <a:gd name="connsiteX6" fmla="*/ 3834803 w 6664201"/>
              <a:gd name="connsiteY6" fmla="*/ 4830800 h 4830800"/>
              <a:gd name="connsiteX7" fmla="*/ 272565 w 6664201"/>
              <a:gd name="connsiteY7" fmla="*/ 4825303 h 4830800"/>
              <a:gd name="connsiteX8" fmla="*/ 272565 w 6664201"/>
              <a:gd name="connsiteY8" fmla="*/ 4830800 h 4830800"/>
              <a:gd name="connsiteX9" fmla="*/ 1482 w 6664201"/>
              <a:gd name="connsiteY9" fmla="*/ 4830800 h 4830800"/>
              <a:gd name="connsiteX10" fmla="*/ 1482 w 6664201"/>
              <a:gd name="connsiteY10" fmla="*/ 2274849 h 4830800"/>
              <a:gd name="connsiteX0" fmla="*/ 18798 w 6681517"/>
              <a:gd name="connsiteY0" fmla="*/ 2274849 h 4830800"/>
              <a:gd name="connsiteX1" fmla="*/ 17316 w 6681517"/>
              <a:gd name="connsiteY1" fmla="*/ 557561 h 4830800"/>
              <a:gd name="connsiteX2" fmla="*/ 0 w 6681517"/>
              <a:gd name="connsiteY2" fmla="*/ 22269 h 4830800"/>
              <a:gd name="connsiteX3" fmla="*/ 6681517 w 6681517"/>
              <a:gd name="connsiteY3" fmla="*/ 0 h 4830800"/>
              <a:gd name="connsiteX4" fmla="*/ 5305434 w 6681517"/>
              <a:gd name="connsiteY4" fmla="*/ 2359453 h 4830800"/>
              <a:gd name="connsiteX5" fmla="*/ 4581534 w 6681517"/>
              <a:gd name="connsiteY5" fmla="*/ 3588876 h 4830800"/>
              <a:gd name="connsiteX6" fmla="*/ 3852119 w 6681517"/>
              <a:gd name="connsiteY6" fmla="*/ 4830800 h 4830800"/>
              <a:gd name="connsiteX7" fmla="*/ 289881 w 6681517"/>
              <a:gd name="connsiteY7" fmla="*/ 4825303 h 4830800"/>
              <a:gd name="connsiteX8" fmla="*/ 289881 w 6681517"/>
              <a:gd name="connsiteY8" fmla="*/ 4830800 h 4830800"/>
              <a:gd name="connsiteX9" fmla="*/ 18798 w 6681517"/>
              <a:gd name="connsiteY9" fmla="*/ 4830800 h 4830800"/>
              <a:gd name="connsiteX10" fmla="*/ 18798 w 6681517"/>
              <a:gd name="connsiteY10" fmla="*/ 2274849 h 483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81517" h="4830800">
                <a:moveTo>
                  <a:pt x="18798" y="2274849"/>
                </a:moveTo>
                <a:lnTo>
                  <a:pt x="17316" y="557561"/>
                </a:lnTo>
                <a:lnTo>
                  <a:pt x="0" y="22269"/>
                </a:lnTo>
                <a:lnTo>
                  <a:pt x="6681517" y="0"/>
                </a:lnTo>
                <a:lnTo>
                  <a:pt x="5305434" y="2359453"/>
                </a:lnTo>
                <a:lnTo>
                  <a:pt x="4581534" y="3588876"/>
                </a:lnTo>
                <a:lnTo>
                  <a:pt x="3852119" y="4830800"/>
                </a:lnTo>
                <a:lnTo>
                  <a:pt x="289881" y="4825303"/>
                </a:lnTo>
                <a:lnTo>
                  <a:pt x="289881" y="4830800"/>
                </a:lnTo>
                <a:lnTo>
                  <a:pt x="18798" y="4830800"/>
                </a:lnTo>
                <a:lnTo>
                  <a:pt x="18798" y="2274849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3" tIns="75613" rIns="75613" bIns="756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8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-12124" y="5937938"/>
            <a:ext cx="9614913" cy="9801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dirty="0">
              <a:effectLst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384" y="1886656"/>
            <a:ext cx="4345128" cy="688801"/>
          </a:xfrm>
          <a:prstGeom prst="rect">
            <a:avLst/>
          </a:prstGeom>
          <a:ln>
            <a:noFill/>
          </a:ln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80" cap="all" spc="525" baseline="0">
                <a:solidFill>
                  <a:srgbClr val="72BE44"/>
                </a:solidFill>
              </a:defRPr>
            </a:lvl1pPr>
            <a:lvl2pPr marL="480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0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0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20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00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80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61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41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PresentationTitle"/>
          <p:cNvSpPr>
            <a:spLocks noGrp="1"/>
          </p:cNvSpPr>
          <p:nvPr>
            <p:ph type="ctrTitle" hasCustomPrompt="1"/>
          </p:nvPr>
        </p:nvSpPr>
        <p:spPr>
          <a:xfrm>
            <a:off x="414384" y="1106968"/>
            <a:ext cx="4309913" cy="777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1890" b="1" spc="525">
                <a:solidFill>
                  <a:srgbClr val="03316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NameAndLocation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67515" y="4925991"/>
            <a:ext cx="3287621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20000"/>
              </a:spcBef>
            </a:pPr>
            <a:endParaRPr lang="en-US" sz="126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5B4DE24-C13F-F842-97A7-3C64D1B58AFD}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679" y="6127740"/>
            <a:ext cx="2224755" cy="559977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9D7D90FE-D207-5345-A3AB-38D7C574C2E9}"/>
              </a:ext>
            </a:extLst>
          </p:cNvPr>
          <p:cNvSpPr txBox="1">
            <a:spLocks/>
          </p:cNvSpPr>
          <p:nvPr userDrawn="1"/>
        </p:nvSpPr>
        <p:spPr>
          <a:xfrm>
            <a:off x="428023" y="510347"/>
            <a:ext cx="9231469" cy="1669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1050" b="1" kern="0" spc="315" dirty="0">
                <a:solidFill>
                  <a:schemeClr val="bg1">
                    <a:lumMod val="75000"/>
                  </a:schemeClr>
                </a:solidFill>
              </a:rPr>
              <a:t>HEALTH WEALTH</a:t>
            </a:r>
            <a:r>
              <a:rPr lang="en-GB" sz="1050" b="1" kern="0" spc="315" baseline="0" dirty="0">
                <a:solidFill>
                  <a:schemeClr val="bg1">
                    <a:lumMod val="75000"/>
                  </a:schemeClr>
                </a:solidFill>
              </a:rPr>
              <a:t> CAREER</a:t>
            </a:r>
            <a:endParaRPr lang="en-US" sz="1050" b="1" kern="0" spc="315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4270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0" y="1308101"/>
            <a:ext cx="8785225" cy="4765675"/>
          </a:xfrm>
        </p:spPr>
        <p:txBody>
          <a:bodyPr/>
          <a:lstStyle>
            <a:lvl1pPr>
              <a:spcBef>
                <a:spcPts val="1400"/>
              </a:spcBef>
              <a:defRPr/>
            </a:lvl1pPr>
            <a:lvl2pPr>
              <a:spcBef>
                <a:spcPts val="500"/>
              </a:spcBef>
              <a:defRPr/>
            </a:lvl2pPr>
            <a:lvl3pPr>
              <a:spcBef>
                <a:spcPts val="500"/>
              </a:spcBef>
              <a:defRPr/>
            </a:lvl3pPr>
            <a:lvl4pPr>
              <a:spcBef>
                <a:spcPts val="500"/>
              </a:spcBef>
              <a:defRPr/>
            </a:lvl4pPr>
            <a:lvl5pPr>
              <a:spcBef>
                <a:spcPts val="5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398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6134100"/>
            <a:ext cx="9602788" cy="72390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24" dirty="0" err="1">
              <a:solidFill>
                <a:schemeClr val="tx1"/>
              </a:solidFill>
            </a:endParaRPr>
          </a:p>
        </p:txBody>
      </p:sp>
      <p:grpSp>
        <p:nvGrpSpPr>
          <p:cNvPr id="17" name="MMC_CoverShape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601200" cy="6134100"/>
            <a:chOff x="0" y="0"/>
            <a:chExt cx="9601200" cy="6134100"/>
          </a:xfrm>
        </p:grpSpPr>
        <p:sp>
          <p:nvSpPr>
            <p:cNvPr id="4" name="CoverAnchorTriangle1"/>
            <p:cNvSpPr/>
            <p:nvPr userDrawn="1"/>
          </p:nvSpPr>
          <p:spPr>
            <a:xfrm>
              <a:off x="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overAnchorTriangle2"/>
            <p:cNvSpPr/>
            <p:nvPr userDrawn="1"/>
          </p:nvSpPr>
          <p:spPr>
            <a:xfrm>
              <a:off x="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overAnchorTriangle3"/>
            <p:cNvSpPr/>
            <p:nvPr userDrawn="1"/>
          </p:nvSpPr>
          <p:spPr>
            <a:xfrm>
              <a:off x="859790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overAnchorTriangle4"/>
            <p:cNvSpPr/>
            <p:nvPr userDrawn="1"/>
          </p:nvSpPr>
          <p:spPr>
            <a:xfrm>
              <a:off x="859790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overTriangle1"/>
            <p:cNvSpPr/>
            <p:nvPr userDrawn="1"/>
          </p:nvSpPr>
          <p:spPr>
            <a:xfrm flipV="1">
              <a:off x="8096250" y="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overTriangle2"/>
            <p:cNvSpPr/>
            <p:nvPr userDrawn="1"/>
          </p:nvSpPr>
          <p:spPr>
            <a:xfrm flipV="1">
              <a:off x="8597900" y="8763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overTriangle3"/>
            <p:cNvSpPr/>
            <p:nvPr userDrawn="1"/>
          </p:nvSpPr>
          <p:spPr>
            <a:xfrm>
              <a:off x="7594600" y="17526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overTriangle4"/>
            <p:cNvSpPr/>
            <p:nvPr userDrawn="1"/>
          </p:nvSpPr>
          <p:spPr>
            <a:xfrm flipV="1">
              <a:off x="7594600" y="26289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overTriangle5"/>
            <p:cNvSpPr/>
            <p:nvPr userDrawn="1"/>
          </p:nvSpPr>
          <p:spPr>
            <a:xfrm flipV="1">
              <a:off x="6591300" y="26289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CoverTriangle6"/>
            <p:cNvSpPr/>
            <p:nvPr userDrawn="1"/>
          </p:nvSpPr>
          <p:spPr>
            <a:xfrm flipV="1">
              <a:off x="8096250" y="35052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CoverTriangle7"/>
            <p:cNvSpPr/>
            <p:nvPr userDrawn="1"/>
          </p:nvSpPr>
          <p:spPr>
            <a:xfrm>
              <a:off x="7594600" y="52578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overTriangle8"/>
            <p:cNvSpPr/>
            <p:nvPr userDrawn="1"/>
          </p:nvSpPr>
          <p:spPr>
            <a:xfrm>
              <a:off x="6591300" y="52578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CoverTriangle9"/>
            <p:cNvSpPr/>
            <p:nvPr userDrawn="1"/>
          </p:nvSpPr>
          <p:spPr>
            <a:xfrm flipV="1">
              <a:off x="5588000" y="43815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6400" y="1242001"/>
            <a:ext cx="8164800" cy="410241"/>
          </a:xfrm>
        </p:spPr>
        <p:txBody>
          <a:bodyPr lIns="0" tIns="0" rIns="0" bIns="0">
            <a:spAutoFit/>
          </a:bodyPr>
          <a:lstStyle>
            <a:lvl1pPr>
              <a:defRPr sz="2666" cap="all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3600" y="1998000"/>
            <a:ext cx="4852800" cy="230400"/>
          </a:xfrm>
        </p:spPr>
        <p:txBody>
          <a:bodyPr wrap="none" lIns="0" tIns="0" rIns="0" bIns="0"/>
          <a:lstStyle>
            <a:lvl1pPr marL="0" indent="0" algn="l">
              <a:spcBef>
                <a:spcPts val="0"/>
              </a:spcBef>
              <a:buNone/>
              <a:defRPr sz="1714" cap="all">
                <a:solidFill>
                  <a:schemeClr val="accent2"/>
                </a:solidFill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ATE HERE</a:t>
            </a:r>
          </a:p>
        </p:txBody>
      </p:sp>
      <p:sp>
        <p:nvSpPr>
          <p:cNvPr id="20" name="BrandTagline"/>
          <p:cNvSpPr txBox="1"/>
          <p:nvPr userDrawn="1"/>
        </p:nvSpPr>
        <p:spPr>
          <a:xfrm>
            <a:off x="412750" y="412751"/>
            <a:ext cx="3810000" cy="14651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952" b="1" kern="100" cap="all" spc="190">
                <a:solidFill>
                  <a:schemeClr val="lt2"/>
                </a:solidFill>
                <a:latin typeface="Arial"/>
              </a:rPr>
              <a:t>Health Wealth Career</a:t>
            </a:r>
            <a:endParaRPr lang="en-GB" sz="952" b="1" kern="100" cap="all" spc="190" dirty="0" err="1">
              <a:solidFill>
                <a:schemeClr val="lt2"/>
              </a:solidFill>
              <a:latin typeface="Arial"/>
            </a:endParaRPr>
          </a:p>
        </p:txBody>
      </p:sp>
      <p:pic>
        <p:nvPicPr>
          <p:cNvPr id="22" name="Picture 21" descr="A picture containing object&#10;&#10;Description automatically generated">
            <a:extLst>
              <a:ext uri="{FF2B5EF4-FFF2-40B4-BE49-F238E27FC236}">
                <a16:creationId xmlns:a16="http://schemas.microsoft.com/office/drawing/2014/main" id="{9BF79B20-6CBF-44BD-B612-2600991581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60" y="6277762"/>
            <a:ext cx="2254067" cy="4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475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1" y="1308101"/>
            <a:ext cx="8785225" cy="4765675"/>
          </a:xfrm>
        </p:spPr>
        <p:txBody>
          <a:bodyPr/>
          <a:lstStyle>
            <a:lvl1pPr>
              <a:spcBef>
                <a:spcPts val="1333"/>
              </a:spcBef>
              <a:defRPr/>
            </a:lvl1pPr>
            <a:lvl2pPr>
              <a:spcBef>
                <a:spcPts val="476"/>
              </a:spcBef>
              <a:defRPr/>
            </a:lvl2pPr>
            <a:lvl3pPr>
              <a:spcBef>
                <a:spcPts val="476"/>
              </a:spcBef>
              <a:defRPr/>
            </a:lvl3pPr>
            <a:lvl4pPr>
              <a:spcBef>
                <a:spcPts val="476"/>
              </a:spcBef>
              <a:defRPr/>
            </a:lvl4pPr>
            <a:lvl5pPr>
              <a:spcBef>
                <a:spcPts val="476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1766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4580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Column +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1" y="1308101"/>
            <a:ext cx="8785225" cy="4765675"/>
          </a:xfrm>
        </p:spPr>
        <p:txBody>
          <a:bodyPr/>
          <a:lstStyle>
            <a:lvl1pPr marL="0" indent="0">
              <a:spcBef>
                <a:spcPts val="1333"/>
              </a:spcBef>
              <a:buNone/>
              <a:defRPr/>
            </a:lvl1pPr>
            <a:lvl2pPr marL="266045" indent="-266045">
              <a:spcBef>
                <a:spcPts val="476"/>
              </a:spcBef>
              <a:buFont typeface="Arial" panose="020B0604020202020204" pitchFamily="34" charset="0"/>
              <a:buChar char="•"/>
              <a:defRPr/>
            </a:lvl2pPr>
            <a:lvl3pPr marL="509416" indent="-222208">
              <a:spcBef>
                <a:spcPts val="476"/>
              </a:spcBef>
              <a:buFont typeface="Arial" panose="020B0604020202020204" pitchFamily="34" charset="0"/>
              <a:buChar char="–"/>
              <a:defRPr/>
            </a:lvl3pPr>
            <a:lvl4pPr marL="681740" indent="-172324">
              <a:spcBef>
                <a:spcPts val="476"/>
              </a:spcBef>
              <a:defRPr/>
            </a:lvl4pPr>
            <a:lvl5pPr marL="854064" indent="-172324">
              <a:spcBef>
                <a:spcPts val="476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58064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0" y="1308101"/>
            <a:ext cx="4143618" cy="4765675"/>
          </a:xfrm>
        </p:spPr>
        <p:txBody>
          <a:bodyPr lIns="0" tIns="0" rIns="0" bIns="0"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4357" y="1308101"/>
            <a:ext cx="4143618" cy="4765675"/>
          </a:xfrm>
        </p:spPr>
        <p:txBody>
          <a:bodyPr lIns="0" tIns="0" rIns="0" bIns="0"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184521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12750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6503487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2"/>
          </p:nvPr>
        </p:nvSpPr>
        <p:spPr>
          <a:xfrm>
            <a:off x="3458119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323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1" y="1308100"/>
            <a:ext cx="8785225" cy="596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24" b="1"/>
            </a:lvl1pPr>
            <a:lvl2pPr marL="215959" indent="0">
              <a:buNone/>
              <a:defRPr/>
            </a:lvl2pPr>
            <a:lvl3pPr marL="486765" indent="0">
              <a:buNone/>
              <a:defRPr/>
            </a:lvl3pPr>
            <a:lvl4pPr marL="654733" indent="0">
              <a:buNone/>
              <a:defRPr/>
            </a:lvl4pPr>
            <a:lvl5pPr marL="82612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12751" y="2176782"/>
            <a:ext cx="8785225" cy="3896995"/>
          </a:xfrm>
        </p:spPr>
        <p:txBody>
          <a:bodyPr/>
          <a:lstStyle>
            <a:lvl1pPr marL="0" indent="0">
              <a:buNone/>
              <a:defRPr sz="114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4256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Sapphi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2" y="2130432"/>
            <a:ext cx="6003588" cy="996403"/>
          </a:xfrm>
        </p:spPr>
        <p:txBody>
          <a:bodyPr anchor="b" anchorCtr="0"/>
          <a:lstStyle>
            <a:lvl1pPr>
              <a:defRPr sz="3047" spc="38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07575" y="3135583"/>
            <a:ext cx="6003588" cy="931041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047" cap="all" spc="286">
                <a:solidFill>
                  <a:schemeClr val="accent1"/>
                </a:solidFill>
                <a:latin typeface="Arial"/>
                <a:cs typeface="Arial"/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B30780-9B7F-104A-9D86-50A63F56C5DF}"/>
              </a:ext>
            </a:extLst>
          </p:cNvPr>
          <p:cNvSpPr txBox="1"/>
          <p:nvPr userDrawn="1"/>
        </p:nvSpPr>
        <p:spPr>
          <a:xfrm>
            <a:off x="901337" y="1476103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127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2" y="2130432"/>
            <a:ext cx="6003588" cy="996403"/>
          </a:xfrm>
        </p:spPr>
        <p:txBody>
          <a:bodyPr anchor="b" anchorCtr="0"/>
          <a:lstStyle>
            <a:lvl1pPr>
              <a:defRPr sz="3047" spc="38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itle Placeholder 1"/>
          <p:cNvSpPr txBox="1">
            <a:spLocks/>
          </p:cNvSpPr>
          <p:nvPr userDrawn="1"/>
        </p:nvSpPr>
        <p:spPr>
          <a:xfrm>
            <a:off x="407574" y="382760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952" b="1" kern="0" spc="286" dirty="0">
                <a:solidFill>
                  <a:srgbClr val="FFFFFF"/>
                </a:solidFill>
              </a:rPr>
              <a:t>Presentation title here</a:t>
            </a:r>
            <a:endParaRPr lang="en-US" sz="952" b="1" kern="0" spc="286" dirty="0">
              <a:solidFill>
                <a:srgbClr val="FFFFFF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21" y="6468878"/>
            <a:ext cx="600074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952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952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6F0A65-D498-AF47-8D51-114CFCBAD8DA}"/>
              </a:ext>
            </a:extLst>
          </p:cNvPr>
          <p:cNvSpPr txBox="1"/>
          <p:nvPr userDrawn="1"/>
        </p:nvSpPr>
        <p:spPr>
          <a:xfrm>
            <a:off x="2508069" y="5133703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551A66-E96D-8346-B9FC-9332AA6E6E85}"/>
              </a:ext>
            </a:extLst>
          </p:cNvPr>
          <p:cNvSpPr txBox="1"/>
          <p:nvPr userDrawn="1"/>
        </p:nvSpPr>
        <p:spPr>
          <a:xfrm>
            <a:off x="8190410" y="209006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46607B-99C8-6945-97A6-FE5F4290F21B}"/>
              </a:ext>
            </a:extLst>
          </p:cNvPr>
          <p:cNvSpPr txBox="1"/>
          <p:nvPr userDrawn="1"/>
        </p:nvSpPr>
        <p:spPr>
          <a:xfrm>
            <a:off x="8360229" y="692331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10993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Ruby">
    <p:bg>
      <p:bgPr>
        <a:solidFill>
          <a:srgbClr val="002C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C344362-C75E-884A-9AE3-ACA0626C7214}"/>
              </a:ext>
            </a:extLst>
          </p:cNvPr>
          <p:cNvSpPr/>
          <p:nvPr userDrawn="1"/>
        </p:nvSpPr>
        <p:spPr>
          <a:xfrm>
            <a:off x="4295553" y="-100013"/>
            <a:ext cx="5314124" cy="6386072"/>
          </a:xfrm>
          <a:custGeom>
            <a:avLst/>
            <a:gdLst>
              <a:gd name="connsiteX0" fmla="*/ 0 w 7102548"/>
              <a:gd name="connsiteY0" fmla="*/ 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0 w 7102548"/>
              <a:gd name="connsiteY4" fmla="*/ 0 h 7102549"/>
              <a:gd name="connsiteX0" fmla="*/ 3530010 w 7102548"/>
              <a:gd name="connsiteY0" fmla="*/ 3444949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530010 w 7102548"/>
              <a:gd name="connsiteY4" fmla="*/ 3444949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6868632 w 7102548"/>
              <a:gd name="connsiteY2" fmla="*/ 671977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081283 w 7102548"/>
              <a:gd name="connsiteY2" fmla="*/ 688989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17359 w 7081283"/>
              <a:gd name="connsiteY0" fmla="*/ 3657600 h 6889897"/>
              <a:gd name="connsiteX1" fmla="*/ 7081283 w 7081283"/>
              <a:gd name="connsiteY1" fmla="*/ 0 h 6889897"/>
              <a:gd name="connsiteX2" fmla="*/ 7060018 w 7081283"/>
              <a:gd name="connsiteY2" fmla="*/ 6889897 h 6889897"/>
              <a:gd name="connsiteX3" fmla="*/ 0 w 7081283"/>
              <a:gd name="connsiteY3" fmla="*/ 6889897 h 6889897"/>
              <a:gd name="connsiteX4" fmla="*/ 3317359 w 7081283"/>
              <a:gd name="connsiteY4" fmla="*/ 3657600 h 6889897"/>
              <a:gd name="connsiteX0" fmla="*/ 3253564 w 7017488"/>
              <a:gd name="connsiteY0" fmla="*/ 3657600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3253564 w 7017488"/>
              <a:gd name="connsiteY4" fmla="*/ 3657600 h 6889897"/>
              <a:gd name="connsiteX0" fmla="*/ 5167424 w 7017488"/>
              <a:gd name="connsiteY0" fmla="*/ 21265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5167424 w 7017488"/>
              <a:gd name="connsiteY4" fmla="*/ 21265 h 6889897"/>
              <a:gd name="connsiteX0" fmla="*/ 2934587 w 4784651"/>
              <a:gd name="connsiteY0" fmla="*/ 21265 h 6889897"/>
              <a:gd name="connsiteX1" fmla="*/ 4784651 w 4784651"/>
              <a:gd name="connsiteY1" fmla="*/ 0 h 6889897"/>
              <a:gd name="connsiteX2" fmla="*/ 4763386 w 4784651"/>
              <a:gd name="connsiteY2" fmla="*/ 6889897 h 6889897"/>
              <a:gd name="connsiteX3" fmla="*/ 0 w 4784651"/>
              <a:gd name="connsiteY3" fmla="*/ 6826101 h 6889897"/>
              <a:gd name="connsiteX4" fmla="*/ 2934587 w 4784651"/>
              <a:gd name="connsiteY4" fmla="*/ 21265 h 6889897"/>
              <a:gd name="connsiteX0" fmla="*/ 3891517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3891517 w 5741581"/>
              <a:gd name="connsiteY4" fmla="*/ 21265 h 6911161"/>
              <a:gd name="connsiteX0" fmla="*/ 4019108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4019108 w 5741581"/>
              <a:gd name="connsiteY4" fmla="*/ 21265 h 691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41581" h="6911161">
                <a:moveTo>
                  <a:pt x="4019108" y="21265"/>
                </a:moveTo>
                <a:lnTo>
                  <a:pt x="5741581" y="0"/>
                </a:lnTo>
                <a:cubicBezTo>
                  <a:pt x="5734493" y="2296632"/>
                  <a:pt x="5727404" y="4593265"/>
                  <a:pt x="5720316" y="6889897"/>
                </a:cubicBezTo>
                <a:lnTo>
                  <a:pt x="0" y="6911161"/>
                </a:lnTo>
                <a:lnTo>
                  <a:pt x="4019108" y="21265"/>
                </a:lnTo>
                <a:close/>
              </a:path>
            </a:pathLst>
          </a:custGeom>
          <a:blipFill dpi="0" rotWithShape="1">
            <a:blip r:embed="rId2"/>
            <a:srcRect/>
            <a:tile tx="-692150" ty="-596900" sx="50000" sy="50000" flip="none" algn="ctr"/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6387355"/>
            <a:ext cx="9602788" cy="470647"/>
          </a:xfrm>
          <a:prstGeom prst="rect">
            <a:avLst/>
          </a:prstGeom>
          <a:solidFill>
            <a:srgbClr val="002C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21" y="6468878"/>
            <a:ext cx="600074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952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952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Isosceles Triangle 23">
            <a:extLst>
              <a:ext uri="{FF2B5EF4-FFF2-40B4-BE49-F238E27FC236}">
                <a16:creationId xmlns:a16="http://schemas.microsoft.com/office/drawing/2014/main" id="{C6B82853-D310-8943-9340-3A84414BB07F}"/>
              </a:ext>
            </a:extLst>
          </p:cNvPr>
          <p:cNvSpPr/>
          <p:nvPr userDrawn="1"/>
        </p:nvSpPr>
        <p:spPr>
          <a:xfrm>
            <a:off x="4295553" y="4778782"/>
            <a:ext cx="1748443" cy="1507279"/>
          </a:xfrm>
          <a:prstGeom prst="triangle">
            <a:avLst/>
          </a:prstGeom>
          <a:solidFill>
            <a:srgbClr val="0D6CA5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9" name="Isosceles Triangle 11">
            <a:extLst>
              <a:ext uri="{FF2B5EF4-FFF2-40B4-BE49-F238E27FC236}">
                <a16:creationId xmlns:a16="http://schemas.microsoft.com/office/drawing/2014/main" id="{1A7275F1-FCBC-7F42-AC84-E3937C24EACA}"/>
              </a:ext>
            </a:extLst>
          </p:cNvPr>
          <p:cNvSpPr/>
          <p:nvPr userDrawn="1"/>
        </p:nvSpPr>
        <p:spPr>
          <a:xfrm>
            <a:off x="5157866" y="3232456"/>
            <a:ext cx="1793737" cy="1546324"/>
          </a:xfrm>
          <a:prstGeom prst="triangle">
            <a:avLst/>
          </a:prstGeom>
          <a:solidFill>
            <a:srgbClr val="1297BB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21" name="Isosceles Triangle 24">
            <a:extLst>
              <a:ext uri="{FF2B5EF4-FFF2-40B4-BE49-F238E27FC236}">
                <a16:creationId xmlns:a16="http://schemas.microsoft.com/office/drawing/2014/main" id="{1B5C8EBB-2CF6-9748-BCB5-A89A410D5920}"/>
              </a:ext>
            </a:extLst>
          </p:cNvPr>
          <p:cNvSpPr/>
          <p:nvPr userDrawn="1"/>
        </p:nvSpPr>
        <p:spPr>
          <a:xfrm rot="10800000">
            <a:off x="6177214" y="0"/>
            <a:ext cx="1793737" cy="15463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069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516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30412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Reverse">
    <p:bg>
      <p:bgPr>
        <a:solidFill>
          <a:srgbClr val="0331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" y="4347882"/>
            <a:ext cx="9602787" cy="2510118"/>
          </a:xfrm>
          <a:prstGeom prst="rect">
            <a:avLst/>
          </a:prstGeom>
          <a:solidFill>
            <a:srgbClr val="03316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7536" y="5742007"/>
            <a:ext cx="5952140" cy="7624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r>
              <a:rPr lang="en-US" sz="667" b="0" i="0" u="none" strike="noStrike" kern="1200" baseline="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© 2019 MERCER METTL / PROFILE AND CAPABILITY DECK 201901</a:t>
            </a:r>
            <a:endParaRPr lang="en-US" sz="667" dirty="0">
              <a:solidFill>
                <a:srgbClr val="FFFF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A5A07E-3887-0140-982E-04DA9AC8B781}"/>
              </a:ext>
            </a:extLst>
          </p:cNvPr>
          <p:cNvSpPr txBox="1"/>
          <p:nvPr userDrawn="1"/>
        </p:nvSpPr>
        <p:spPr>
          <a:xfrm>
            <a:off x="2002056" y="3081804"/>
            <a:ext cx="5640404" cy="811803"/>
          </a:xfrm>
          <a:prstGeom prst="rect">
            <a:avLst/>
          </a:prstGeom>
          <a:noFill/>
        </p:spPr>
        <p:txBody>
          <a:bodyPr wrap="squar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r>
              <a:rPr lang="en-US" sz="2285" b="1" i="0" u="none" strike="noStrike" kern="1200" cap="all" spc="19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ILD WINNING TEA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98699B-3934-4049-A671-CD2B685F7B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215" y="2195714"/>
            <a:ext cx="4356085" cy="86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385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790" y="2878074"/>
            <a:ext cx="509320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292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pphire -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4"/>
          <p:cNvSpPr>
            <a:spLocks noGrp="1"/>
          </p:cNvSpPr>
          <p:nvPr>
            <p:ph sz="quarter" idx="10"/>
          </p:nvPr>
        </p:nvSpPr>
        <p:spPr>
          <a:xfrm>
            <a:off x="407594" y="1278001"/>
            <a:ext cx="2366682" cy="4735191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/>
              <a:buNone/>
              <a:defRPr sz="1524"/>
            </a:lvl1pPr>
            <a:lvl2pPr marL="0" indent="0">
              <a:buClr>
                <a:schemeClr val="accent1"/>
              </a:buClr>
              <a:buFont typeface="Arial"/>
              <a:buNone/>
              <a:defRPr sz="1524"/>
            </a:lvl2pPr>
            <a:lvl3pPr marL="0" indent="0">
              <a:buClr>
                <a:schemeClr val="accent1"/>
              </a:buClr>
              <a:buFont typeface="Arial"/>
              <a:buNone/>
              <a:defRPr sz="1524"/>
            </a:lvl3pPr>
            <a:lvl4pPr marL="0" indent="0">
              <a:buClr>
                <a:schemeClr val="accent1"/>
              </a:buClr>
              <a:buFont typeface="Arial"/>
              <a:buNone/>
              <a:defRPr sz="1524"/>
            </a:lvl4pPr>
            <a:lvl5pPr marL="0" indent="0">
              <a:buClr>
                <a:schemeClr val="accent1"/>
              </a:buClr>
              <a:buFont typeface="Arial"/>
              <a:buNone/>
              <a:defRPr sz="1524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003265" y="1277471"/>
            <a:ext cx="6597934" cy="47363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9163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82213-C1F3-4922-9B73-4543CFCA7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90E2DD-EB90-434C-B5CF-9AE6F637DF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94899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8AC48-78E0-45CA-8A00-470A7EECE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A1AC16-1E64-4CBB-ACF3-F44ED19E5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6211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89253-21DD-458F-A1A9-B4CBEF22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B3029-9CB3-4316-80B8-7E9940DFCD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76435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F3289-EE68-4F92-A3AF-11ACA7EE8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84B98-7988-4204-A138-9BE5A3A57E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8373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85C5E-460A-41F6-9A08-8FCE0E2F3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66FB8-1C78-4994-B538-9BB7A4D31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97608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69" y="1591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69" y="1591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06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3120" y="381600"/>
            <a:ext cx="8719553" cy="69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BodyText"/>
          <p:cNvSpPr>
            <a:spLocks noGrp="1"/>
          </p:cNvSpPr>
          <p:nvPr>
            <p:ph idx="1"/>
          </p:nvPr>
        </p:nvSpPr>
        <p:spPr>
          <a:xfrm>
            <a:off x="480140" y="1600200"/>
            <a:ext cx="8722532" cy="4598894"/>
          </a:xfrm>
        </p:spPr>
        <p:txBody>
          <a:bodyPr/>
          <a:lstStyle>
            <a:lvl1pPr>
              <a:spcBef>
                <a:spcPts val="1333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80140" y="1219200"/>
            <a:ext cx="8722532" cy="381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333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GB" dirty="0"/>
              <a:t>Slide Title XX</a:t>
            </a:r>
          </a:p>
          <a:p>
            <a:pPr lvl="0"/>
            <a:r>
              <a:rPr lang="en-GB" sz="952" dirty="0"/>
              <a:t>Descrip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3042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Column +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0" y="1308100"/>
            <a:ext cx="8785225" cy="4765675"/>
          </a:xfrm>
        </p:spPr>
        <p:txBody>
          <a:bodyPr/>
          <a:lstStyle>
            <a:lvl1pPr marL="0" indent="0">
              <a:spcBef>
                <a:spcPts val="1400"/>
              </a:spcBef>
              <a:buNone/>
              <a:defRPr/>
            </a:lvl1pPr>
            <a:lvl2pPr marL="279400" indent="-279400">
              <a:spcBef>
                <a:spcPts val="500"/>
              </a:spcBef>
              <a:buFont typeface="Arial" panose="020B0604020202020204" pitchFamily="34" charset="0"/>
              <a:buChar char="•"/>
              <a:defRPr/>
            </a:lvl2pPr>
            <a:lvl3pPr marL="534988" indent="-233363">
              <a:spcBef>
                <a:spcPts val="500"/>
              </a:spcBef>
              <a:buFont typeface="Arial" panose="020B0604020202020204" pitchFamily="34" charset="0"/>
              <a:buChar char="–"/>
              <a:defRPr/>
            </a:lvl3pPr>
            <a:lvl4pPr marL="715963" indent="-180975">
              <a:spcBef>
                <a:spcPts val="500"/>
              </a:spcBef>
              <a:defRPr/>
            </a:lvl4pPr>
            <a:lvl5pPr marL="896938" indent="-180975">
              <a:spcBef>
                <a:spcPts val="5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87387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DEADC06-1B11-6244-A729-CED7B100C2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" b="3935"/>
          <a:stretch/>
        </p:blipFill>
        <p:spPr>
          <a:xfrm>
            <a:off x="0" y="-1"/>
            <a:ext cx="9602788" cy="6157855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 userDrawn="1"/>
        </p:nvSpPr>
        <p:spPr>
          <a:xfrm>
            <a:off x="-24240" y="1"/>
            <a:ext cx="6712988" cy="6286060"/>
          </a:xfrm>
          <a:custGeom>
            <a:avLst/>
            <a:gdLst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5000222 w 7432153"/>
              <a:gd name="connsiteY5" fmla="*/ 4160104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228228 w 7432153"/>
              <a:gd name="connsiteY5" fmla="*/ 3732885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562736 w 7432153"/>
              <a:gd name="connsiteY5" fmla="*/ 4904720 h 6146644"/>
              <a:gd name="connsiteX6" fmla="*/ 3833321 w 7432153"/>
              <a:gd name="connsiteY6" fmla="*/ 6146644 h 6146644"/>
              <a:gd name="connsiteX7" fmla="*/ 271083 w 7432153"/>
              <a:gd name="connsiteY7" fmla="*/ 6141147 h 6146644"/>
              <a:gd name="connsiteX8" fmla="*/ 271083 w 7432153"/>
              <a:gd name="connsiteY8" fmla="*/ 6146644 h 6146644"/>
              <a:gd name="connsiteX9" fmla="*/ 0 w 7432153"/>
              <a:gd name="connsiteY9" fmla="*/ 6146644 h 6146644"/>
              <a:gd name="connsiteX10" fmla="*/ 0 w 7432153"/>
              <a:gd name="connsiteY10" fmla="*/ 0 h 6146644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271083 w 7432153"/>
              <a:gd name="connsiteY7" fmla="*/ 6141147 h 6204517"/>
              <a:gd name="connsiteX8" fmla="*/ 271083 w 7432153"/>
              <a:gd name="connsiteY8" fmla="*/ 6146644 h 6204517"/>
              <a:gd name="connsiteX9" fmla="*/ 0 w 7432153"/>
              <a:gd name="connsiteY9" fmla="*/ 6146644 h 6204517"/>
              <a:gd name="connsiteX10" fmla="*/ 0 w 7432153"/>
              <a:gd name="connsiteY10" fmla="*/ 0 h 6204517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271083 w 7432153"/>
              <a:gd name="connsiteY7" fmla="*/ 6141147 h 6204517"/>
              <a:gd name="connsiteX8" fmla="*/ 0 w 7432153"/>
              <a:gd name="connsiteY8" fmla="*/ 6146644 h 6204517"/>
              <a:gd name="connsiteX9" fmla="*/ 0 w 7432153"/>
              <a:gd name="connsiteY9" fmla="*/ 0 h 6204517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0 w 7432153"/>
              <a:gd name="connsiteY7" fmla="*/ 6146644 h 6204517"/>
              <a:gd name="connsiteX8" fmla="*/ 0 w 7432153"/>
              <a:gd name="connsiteY8" fmla="*/ 0 h 6204517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3740 w 7435893"/>
              <a:gd name="connsiteY0" fmla="*/ 0 h 6227666"/>
              <a:gd name="connsiteX1" fmla="*/ 46863 w 7435893"/>
              <a:gd name="connsiteY1" fmla="*/ 0 h 6227666"/>
              <a:gd name="connsiteX2" fmla="*/ 274823 w 7435893"/>
              <a:gd name="connsiteY2" fmla="*/ 0 h 6227666"/>
              <a:gd name="connsiteX3" fmla="*/ 7435893 w 7435893"/>
              <a:gd name="connsiteY3" fmla="*/ 0 h 6227666"/>
              <a:gd name="connsiteX4" fmla="*/ 5290376 w 7435893"/>
              <a:gd name="connsiteY4" fmla="*/ 3675297 h 6227666"/>
              <a:gd name="connsiteX5" fmla="*/ 4566476 w 7435893"/>
              <a:gd name="connsiteY5" fmla="*/ 4904720 h 6227666"/>
              <a:gd name="connsiteX6" fmla="*/ 3813912 w 7435893"/>
              <a:gd name="connsiteY6" fmla="*/ 6204517 h 6227666"/>
              <a:gd name="connsiteX7" fmla="*/ 3740 w 7435893"/>
              <a:gd name="connsiteY7" fmla="*/ 6227666 h 6227666"/>
              <a:gd name="connsiteX8" fmla="*/ 3740 w 7435893"/>
              <a:gd name="connsiteY8" fmla="*/ 0 h 6227666"/>
              <a:gd name="connsiteX0" fmla="*/ 24317 w 7456470"/>
              <a:gd name="connsiteY0" fmla="*/ 0 h 6227676"/>
              <a:gd name="connsiteX1" fmla="*/ 67440 w 7456470"/>
              <a:gd name="connsiteY1" fmla="*/ 0 h 6227676"/>
              <a:gd name="connsiteX2" fmla="*/ 295400 w 7456470"/>
              <a:gd name="connsiteY2" fmla="*/ 0 h 6227676"/>
              <a:gd name="connsiteX3" fmla="*/ 7456470 w 7456470"/>
              <a:gd name="connsiteY3" fmla="*/ 0 h 6227676"/>
              <a:gd name="connsiteX4" fmla="*/ 5310953 w 7456470"/>
              <a:gd name="connsiteY4" fmla="*/ 3675297 h 6227676"/>
              <a:gd name="connsiteX5" fmla="*/ 4587053 w 7456470"/>
              <a:gd name="connsiteY5" fmla="*/ 4904720 h 6227676"/>
              <a:gd name="connsiteX6" fmla="*/ 3834489 w 7456470"/>
              <a:gd name="connsiteY6" fmla="*/ 6204517 h 6227676"/>
              <a:gd name="connsiteX7" fmla="*/ 24317 w 7456470"/>
              <a:gd name="connsiteY7" fmla="*/ 6227666 h 6227676"/>
              <a:gd name="connsiteX8" fmla="*/ 24317 w 7456470"/>
              <a:gd name="connsiteY8" fmla="*/ 0 h 622767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34606 w 7466759"/>
              <a:gd name="connsiteY0" fmla="*/ 0 h 6227666"/>
              <a:gd name="connsiteX1" fmla="*/ 77729 w 7466759"/>
              <a:gd name="connsiteY1" fmla="*/ 0 h 6227666"/>
              <a:gd name="connsiteX2" fmla="*/ 305689 w 7466759"/>
              <a:gd name="connsiteY2" fmla="*/ 0 h 6227666"/>
              <a:gd name="connsiteX3" fmla="*/ 7466759 w 7466759"/>
              <a:gd name="connsiteY3" fmla="*/ 0 h 6227666"/>
              <a:gd name="connsiteX4" fmla="*/ 5321242 w 7466759"/>
              <a:gd name="connsiteY4" fmla="*/ 3675297 h 6227666"/>
              <a:gd name="connsiteX5" fmla="*/ 4597342 w 7466759"/>
              <a:gd name="connsiteY5" fmla="*/ 4904720 h 6227666"/>
              <a:gd name="connsiteX6" fmla="*/ 3844778 w 7466759"/>
              <a:gd name="connsiteY6" fmla="*/ 6204517 h 6227666"/>
              <a:gd name="connsiteX7" fmla="*/ 34606 w 7466759"/>
              <a:gd name="connsiteY7" fmla="*/ 6227666 h 6227666"/>
              <a:gd name="connsiteX8" fmla="*/ 34606 w 7466759"/>
              <a:gd name="connsiteY8" fmla="*/ 0 h 6227666"/>
              <a:gd name="connsiteX0" fmla="*/ 34606 w 7466759"/>
              <a:gd name="connsiteY0" fmla="*/ 0 h 6227666"/>
              <a:gd name="connsiteX1" fmla="*/ 77729 w 7466759"/>
              <a:gd name="connsiteY1" fmla="*/ 0 h 6227666"/>
              <a:gd name="connsiteX2" fmla="*/ 305689 w 7466759"/>
              <a:gd name="connsiteY2" fmla="*/ 0 h 6227666"/>
              <a:gd name="connsiteX3" fmla="*/ 7466759 w 7466759"/>
              <a:gd name="connsiteY3" fmla="*/ 0 h 6227666"/>
              <a:gd name="connsiteX4" fmla="*/ 5321242 w 7466759"/>
              <a:gd name="connsiteY4" fmla="*/ 3675297 h 6227666"/>
              <a:gd name="connsiteX5" fmla="*/ 4597342 w 7466759"/>
              <a:gd name="connsiteY5" fmla="*/ 4904720 h 6227666"/>
              <a:gd name="connsiteX6" fmla="*/ 3844778 w 7466759"/>
              <a:gd name="connsiteY6" fmla="*/ 6204517 h 6227666"/>
              <a:gd name="connsiteX7" fmla="*/ 34606 w 7466759"/>
              <a:gd name="connsiteY7" fmla="*/ 6227666 h 6227666"/>
              <a:gd name="connsiteX8" fmla="*/ 34606 w 7466759"/>
              <a:gd name="connsiteY8" fmla="*/ 0 h 6227666"/>
              <a:gd name="connsiteX0" fmla="*/ 87352 w 7519505"/>
              <a:gd name="connsiteY0" fmla="*/ 0 h 6236810"/>
              <a:gd name="connsiteX1" fmla="*/ 130475 w 7519505"/>
              <a:gd name="connsiteY1" fmla="*/ 0 h 6236810"/>
              <a:gd name="connsiteX2" fmla="*/ 358435 w 7519505"/>
              <a:gd name="connsiteY2" fmla="*/ 0 h 6236810"/>
              <a:gd name="connsiteX3" fmla="*/ 7519505 w 7519505"/>
              <a:gd name="connsiteY3" fmla="*/ 0 h 6236810"/>
              <a:gd name="connsiteX4" fmla="*/ 5373988 w 7519505"/>
              <a:gd name="connsiteY4" fmla="*/ 3675297 h 6236810"/>
              <a:gd name="connsiteX5" fmla="*/ 4650088 w 7519505"/>
              <a:gd name="connsiteY5" fmla="*/ 4904720 h 6236810"/>
              <a:gd name="connsiteX6" fmla="*/ 3897524 w 7519505"/>
              <a:gd name="connsiteY6" fmla="*/ 6204517 h 6236810"/>
              <a:gd name="connsiteX7" fmla="*/ 23344 w 7519505"/>
              <a:gd name="connsiteY7" fmla="*/ 6236810 h 6236810"/>
              <a:gd name="connsiteX8" fmla="*/ 87352 w 7519505"/>
              <a:gd name="connsiteY8" fmla="*/ 0 h 6236810"/>
              <a:gd name="connsiteX0" fmla="*/ 72713 w 7504866"/>
              <a:gd name="connsiteY0" fmla="*/ 0 h 6236837"/>
              <a:gd name="connsiteX1" fmla="*/ 115836 w 7504866"/>
              <a:gd name="connsiteY1" fmla="*/ 0 h 6236837"/>
              <a:gd name="connsiteX2" fmla="*/ 343796 w 7504866"/>
              <a:gd name="connsiteY2" fmla="*/ 0 h 6236837"/>
              <a:gd name="connsiteX3" fmla="*/ 7504866 w 7504866"/>
              <a:gd name="connsiteY3" fmla="*/ 0 h 6236837"/>
              <a:gd name="connsiteX4" fmla="*/ 5359349 w 7504866"/>
              <a:gd name="connsiteY4" fmla="*/ 3675297 h 6236837"/>
              <a:gd name="connsiteX5" fmla="*/ 4635449 w 7504866"/>
              <a:gd name="connsiteY5" fmla="*/ 4904720 h 6236837"/>
              <a:gd name="connsiteX6" fmla="*/ 3882885 w 7504866"/>
              <a:gd name="connsiteY6" fmla="*/ 6204517 h 6236837"/>
              <a:gd name="connsiteX7" fmla="*/ 8705 w 7504866"/>
              <a:gd name="connsiteY7" fmla="*/ 6236810 h 6236837"/>
              <a:gd name="connsiteX8" fmla="*/ 72713 w 7504866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586977 w 7456394"/>
              <a:gd name="connsiteY5" fmla="*/ 4904720 h 6236837"/>
              <a:gd name="connsiteX6" fmla="*/ 3834413 w 7456394"/>
              <a:gd name="connsiteY6" fmla="*/ 6204517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586977 w 7456394"/>
              <a:gd name="connsiteY5" fmla="*/ 490472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279200 w 7456394"/>
              <a:gd name="connsiteY5" fmla="*/ 485890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136471 w 7456394"/>
              <a:gd name="connsiteY4" fmla="*/ 3547001 h 6236837"/>
              <a:gd name="connsiteX5" fmla="*/ 4279200 w 7456394"/>
              <a:gd name="connsiteY5" fmla="*/ 485890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56394" h="6236837">
                <a:moveTo>
                  <a:pt x="24241" y="0"/>
                </a:moveTo>
                <a:lnTo>
                  <a:pt x="67364" y="0"/>
                </a:lnTo>
                <a:lnTo>
                  <a:pt x="295324" y="0"/>
                </a:lnTo>
                <a:lnTo>
                  <a:pt x="7456394" y="0"/>
                </a:lnTo>
                <a:lnTo>
                  <a:pt x="5136471" y="3547001"/>
                </a:lnTo>
                <a:lnTo>
                  <a:pt x="4279200" y="4858900"/>
                </a:lnTo>
                <a:lnTo>
                  <a:pt x="3383007" y="6213682"/>
                </a:lnTo>
                <a:lnTo>
                  <a:pt x="15097" y="6236810"/>
                </a:lnTo>
                <a:cubicBezTo>
                  <a:pt x="-23568" y="6247574"/>
                  <a:pt x="24241" y="3113833"/>
                  <a:pt x="24241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24" dirty="0" err="1">
              <a:solidFill>
                <a:schemeClr val="tx1"/>
              </a:solidFill>
            </a:endParaRPr>
          </a:p>
        </p:txBody>
      </p:sp>
      <p:sp>
        <p:nvSpPr>
          <p:cNvPr id="2" name="PresentationTitle"/>
          <p:cNvSpPr>
            <a:spLocks noGrp="1"/>
          </p:cNvSpPr>
          <p:nvPr>
            <p:ph type="ctrTitle" hasCustomPrompt="1"/>
          </p:nvPr>
        </p:nvSpPr>
        <p:spPr>
          <a:xfrm>
            <a:off x="407574" y="1360799"/>
            <a:ext cx="4104000" cy="583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1714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573" y="2240048"/>
            <a:ext cx="4137533" cy="516601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24" cap="all" spc="476" baseline="0">
                <a:solidFill>
                  <a:srgbClr val="72BE44"/>
                </a:solidFill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Isosceles Triangle 23">
            <a:extLst>
              <a:ext uri="{FF2B5EF4-FFF2-40B4-BE49-F238E27FC236}">
                <a16:creationId xmlns:a16="http://schemas.microsoft.com/office/drawing/2014/main" id="{83C781BC-7CFB-EA42-BCEB-E004BAB52B3F}"/>
              </a:ext>
            </a:extLst>
          </p:cNvPr>
          <p:cNvSpPr/>
          <p:nvPr userDrawn="1"/>
        </p:nvSpPr>
        <p:spPr>
          <a:xfrm>
            <a:off x="3018535" y="4778784"/>
            <a:ext cx="1748443" cy="1507279"/>
          </a:xfrm>
          <a:prstGeom prst="triangle">
            <a:avLst/>
          </a:prstGeom>
          <a:solidFill>
            <a:srgbClr val="0D6CA5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6" name="Isosceles Triangle 11">
            <a:extLst>
              <a:ext uri="{FF2B5EF4-FFF2-40B4-BE49-F238E27FC236}">
                <a16:creationId xmlns:a16="http://schemas.microsoft.com/office/drawing/2014/main" id="{4B920F49-4FB5-594D-8844-494E0C770865}"/>
              </a:ext>
            </a:extLst>
          </p:cNvPr>
          <p:cNvSpPr/>
          <p:nvPr userDrawn="1"/>
        </p:nvSpPr>
        <p:spPr>
          <a:xfrm>
            <a:off x="3894134" y="3232456"/>
            <a:ext cx="1793737" cy="1546324"/>
          </a:xfrm>
          <a:prstGeom prst="triangle">
            <a:avLst/>
          </a:prstGeom>
          <a:solidFill>
            <a:srgbClr val="1297BB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7" name="Isosceles Triangle 24">
            <a:extLst>
              <a:ext uri="{FF2B5EF4-FFF2-40B4-BE49-F238E27FC236}">
                <a16:creationId xmlns:a16="http://schemas.microsoft.com/office/drawing/2014/main" id="{D9BFDCAE-EC7D-B74C-BDF8-5BD9ACA08527}"/>
              </a:ext>
            </a:extLst>
          </p:cNvPr>
          <p:cNvSpPr/>
          <p:nvPr userDrawn="1"/>
        </p:nvSpPr>
        <p:spPr>
          <a:xfrm rot="10800000">
            <a:off x="4895010" y="0"/>
            <a:ext cx="1793737" cy="15463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6269F3-5667-0648-9E0B-8C77608548CB}"/>
              </a:ext>
            </a:extLst>
          </p:cNvPr>
          <p:cNvSpPr/>
          <p:nvPr userDrawn="1"/>
        </p:nvSpPr>
        <p:spPr>
          <a:xfrm>
            <a:off x="-24240" y="6141357"/>
            <a:ext cx="9627028" cy="7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4" dirty="0">
              <a:effectLst/>
            </a:endParaRP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380FD42E-C407-F247-B9E9-D9A4BC8F4EE0}"/>
              </a:ext>
            </a:extLst>
          </p:cNvPr>
          <p:cNvSpPr txBox="1">
            <a:spLocks/>
          </p:cNvSpPr>
          <p:nvPr userDrawn="1"/>
        </p:nvSpPr>
        <p:spPr>
          <a:xfrm>
            <a:off x="407574" y="382760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952" b="1" kern="0" spc="286" dirty="0">
                <a:solidFill>
                  <a:schemeClr val="bg1">
                    <a:lumMod val="75000"/>
                  </a:schemeClr>
                </a:solidFill>
              </a:rPr>
              <a:t>HEALTH WEALTH</a:t>
            </a:r>
            <a:r>
              <a:rPr lang="en-GB" sz="952" b="1" kern="0" spc="286" baseline="0" dirty="0">
                <a:solidFill>
                  <a:schemeClr val="bg1">
                    <a:lumMod val="75000"/>
                  </a:schemeClr>
                </a:solidFill>
              </a:rPr>
              <a:t> CAREER</a:t>
            </a:r>
            <a:endParaRPr lang="en-US" sz="952" b="1" kern="0" spc="286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id="{4C8DE57F-F30F-4697-9433-7D8CE219AF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60" y="6277762"/>
            <a:ext cx="2254067" cy="4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3915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pphire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5CF984DA-2A5C-1E49-A934-7EAC6F0175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594" y="1278000"/>
            <a:ext cx="8788969" cy="4788118"/>
          </a:xfrm>
        </p:spPr>
        <p:txBody>
          <a:bodyPr/>
          <a:lstStyle>
            <a:lvl1pPr>
              <a:spcBef>
                <a:spcPts val="1269"/>
              </a:spcBef>
              <a:buClr>
                <a:srgbClr val="00A8C8"/>
              </a:buClr>
              <a:defRPr/>
            </a:lvl1pPr>
            <a:lvl2pPr>
              <a:spcBef>
                <a:spcPts val="453"/>
              </a:spcBef>
              <a:buClr>
                <a:srgbClr val="00A8C8"/>
              </a:buClr>
              <a:defRPr/>
            </a:lvl2pPr>
            <a:lvl3pPr>
              <a:spcBef>
                <a:spcPts val="453"/>
              </a:spcBef>
              <a:buClr>
                <a:srgbClr val="00A8C8"/>
              </a:buClr>
              <a:defRPr/>
            </a:lvl3pPr>
            <a:lvl4pPr>
              <a:spcBef>
                <a:spcPts val="453"/>
              </a:spcBef>
              <a:buClr>
                <a:srgbClr val="00A8C8"/>
              </a:buClr>
              <a:defRPr/>
            </a:lvl4pPr>
            <a:lvl5pPr>
              <a:spcBef>
                <a:spcPts val="453"/>
              </a:spcBef>
              <a:buClr>
                <a:srgbClr val="00A8C8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64799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6134100"/>
            <a:ext cx="9602788" cy="72390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24" dirty="0" err="1">
              <a:solidFill>
                <a:schemeClr val="tx1"/>
              </a:solidFill>
            </a:endParaRPr>
          </a:p>
        </p:txBody>
      </p:sp>
      <p:grpSp>
        <p:nvGrpSpPr>
          <p:cNvPr id="17" name="MMC_CoverShape"/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9601200" cy="6134100"/>
            <a:chOff x="0" y="0"/>
            <a:chExt cx="9601200" cy="6134100"/>
          </a:xfrm>
        </p:grpSpPr>
        <p:sp>
          <p:nvSpPr>
            <p:cNvPr id="4" name="CoverAnchorTriangle1"/>
            <p:cNvSpPr/>
            <p:nvPr userDrawn="1"/>
          </p:nvSpPr>
          <p:spPr>
            <a:xfrm>
              <a:off x="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overAnchorTriangle2"/>
            <p:cNvSpPr/>
            <p:nvPr userDrawn="1"/>
          </p:nvSpPr>
          <p:spPr>
            <a:xfrm>
              <a:off x="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overAnchorTriangle3"/>
            <p:cNvSpPr/>
            <p:nvPr userDrawn="1"/>
          </p:nvSpPr>
          <p:spPr>
            <a:xfrm>
              <a:off x="8597900" y="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overAnchorTriangle4"/>
            <p:cNvSpPr/>
            <p:nvPr userDrawn="1"/>
          </p:nvSpPr>
          <p:spPr>
            <a:xfrm>
              <a:off x="8597900" y="5257800"/>
              <a:ext cx="1003300" cy="876300"/>
            </a:xfrm>
            <a:prstGeom prst="triangle">
              <a:avLst/>
            </a:prstGeom>
            <a:noFill/>
            <a:ln w="127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overTriangle1"/>
            <p:cNvSpPr/>
            <p:nvPr userDrawn="1"/>
          </p:nvSpPr>
          <p:spPr>
            <a:xfrm flipV="1">
              <a:off x="8096250" y="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overTriangle2"/>
            <p:cNvSpPr/>
            <p:nvPr userDrawn="1"/>
          </p:nvSpPr>
          <p:spPr>
            <a:xfrm flipV="1">
              <a:off x="8597900" y="8763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overTriangle3"/>
            <p:cNvSpPr/>
            <p:nvPr userDrawn="1"/>
          </p:nvSpPr>
          <p:spPr>
            <a:xfrm>
              <a:off x="7594600" y="17526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overTriangle4"/>
            <p:cNvSpPr/>
            <p:nvPr userDrawn="1"/>
          </p:nvSpPr>
          <p:spPr>
            <a:xfrm flipV="1">
              <a:off x="7594600" y="26289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overTriangle5"/>
            <p:cNvSpPr/>
            <p:nvPr userDrawn="1"/>
          </p:nvSpPr>
          <p:spPr>
            <a:xfrm flipV="1">
              <a:off x="6591300" y="26289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CoverTriangle6"/>
            <p:cNvSpPr/>
            <p:nvPr userDrawn="1"/>
          </p:nvSpPr>
          <p:spPr>
            <a:xfrm flipV="1">
              <a:off x="8096250" y="3505200"/>
              <a:ext cx="1003300" cy="876300"/>
            </a:xfrm>
            <a:prstGeom prst="triangl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CoverTriangle7"/>
            <p:cNvSpPr/>
            <p:nvPr userDrawn="1"/>
          </p:nvSpPr>
          <p:spPr>
            <a:xfrm>
              <a:off x="7594600" y="5257800"/>
              <a:ext cx="1003300" cy="876300"/>
            </a:xfrm>
            <a:prstGeom prst="triangl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overTriangle8"/>
            <p:cNvSpPr/>
            <p:nvPr userDrawn="1"/>
          </p:nvSpPr>
          <p:spPr>
            <a:xfrm>
              <a:off x="6591300" y="52578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CoverTriangle9"/>
            <p:cNvSpPr/>
            <p:nvPr userDrawn="1"/>
          </p:nvSpPr>
          <p:spPr>
            <a:xfrm flipV="1">
              <a:off x="5588000" y="4381500"/>
              <a:ext cx="1003300" cy="876300"/>
            </a:xfrm>
            <a:prstGeom prst="triangle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524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6400" y="1242001"/>
            <a:ext cx="8164800" cy="410241"/>
          </a:xfrm>
        </p:spPr>
        <p:txBody>
          <a:bodyPr lIns="0" tIns="0" rIns="0" bIns="0">
            <a:spAutoFit/>
          </a:bodyPr>
          <a:lstStyle>
            <a:lvl1pPr>
              <a:defRPr sz="2666" cap="all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3600" y="1998000"/>
            <a:ext cx="4852800" cy="230400"/>
          </a:xfrm>
        </p:spPr>
        <p:txBody>
          <a:bodyPr wrap="none" lIns="0" tIns="0" rIns="0" bIns="0"/>
          <a:lstStyle>
            <a:lvl1pPr marL="0" indent="0" algn="l">
              <a:spcBef>
                <a:spcPts val="0"/>
              </a:spcBef>
              <a:buNone/>
              <a:defRPr sz="1714" cap="all">
                <a:solidFill>
                  <a:schemeClr val="accent2"/>
                </a:solidFill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ATE HERE</a:t>
            </a:r>
          </a:p>
        </p:txBody>
      </p:sp>
      <p:sp>
        <p:nvSpPr>
          <p:cNvPr id="20" name="BrandTagline"/>
          <p:cNvSpPr txBox="1"/>
          <p:nvPr userDrawn="1"/>
        </p:nvSpPr>
        <p:spPr>
          <a:xfrm>
            <a:off x="412750" y="412751"/>
            <a:ext cx="3810000" cy="14651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952" b="1" kern="100" cap="all" spc="190">
                <a:solidFill>
                  <a:schemeClr val="lt2"/>
                </a:solidFill>
                <a:latin typeface="Arial"/>
              </a:rPr>
              <a:t>Health Wealth Career</a:t>
            </a:r>
            <a:endParaRPr lang="en-GB" sz="952" b="1" kern="100" cap="all" spc="190" dirty="0" err="1">
              <a:solidFill>
                <a:schemeClr val="lt2"/>
              </a:solidFill>
              <a:latin typeface="Arial"/>
            </a:endParaRPr>
          </a:p>
        </p:txBody>
      </p:sp>
      <p:pic>
        <p:nvPicPr>
          <p:cNvPr id="22" name="Picture 21" descr="A picture containing object&#10;&#10;Description automatically generated">
            <a:extLst>
              <a:ext uri="{FF2B5EF4-FFF2-40B4-BE49-F238E27FC236}">
                <a16:creationId xmlns:a16="http://schemas.microsoft.com/office/drawing/2014/main" id="{9BF79B20-6CBF-44BD-B612-2600991581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60" y="6277762"/>
            <a:ext cx="2254067" cy="4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1333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1" y="1308101"/>
            <a:ext cx="8785225" cy="4765675"/>
          </a:xfrm>
        </p:spPr>
        <p:txBody>
          <a:bodyPr/>
          <a:lstStyle>
            <a:lvl1pPr>
              <a:spcBef>
                <a:spcPts val="1333"/>
              </a:spcBef>
              <a:defRPr/>
            </a:lvl1pPr>
            <a:lvl2pPr>
              <a:spcBef>
                <a:spcPts val="476"/>
              </a:spcBef>
              <a:defRPr/>
            </a:lvl2pPr>
            <a:lvl3pPr>
              <a:spcBef>
                <a:spcPts val="476"/>
              </a:spcBef>
              <a:defRPr/>
            </a:lvl3pPr>
            <a:lvl4pPr>
              <a:spcBef>
                <a:spcPts val="476"/>
              </a:spcBef>
              <a:defRPr/>
            </a:lvl4pPr>
            <a:lvl5pPr>
              <a:spcBef>
                <a:spcPts val="476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7698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57881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Column +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51" y="1308101"/>
            <a:ext cx="8785225" cy="4765675"/>
          </a:xfrm>
        </p:spPr>
        <p:txBody>
          <a:bodyPr/>
          <a:lstStyle>
            <a:lvl1pPr marL="0" indent="0">
              <a:spcBef>
                <a:spcPts val="1333"/>
              </a:spcBef>
              <a:buNone/>
              <a:defRPr/>
            </a:lvl1pPr>
            <a:lvl2pPr marL="266045" indent="-266045">
              <a:spcBef>
                <a:spcPts val="476"/>
              </a:spcBef>
              <a:buFont typeface="Arial" panose="020B0604020202020204" pitchFamily="34" charset="0"/>
              <a:buChar char="•"/>
              <a:defRPr/>
            </a:lvl2pPr>
            <a:lvl3pPr marL="509416" indent="-222208">
              <a:spcBef>
                <a:spcPts val="476"/>
              </a:spcBef>
              <a:buFont typeface="Arial" panose="020B0604020202020204" pitchFamily="34" charset="0"/>
              <a:buChar char="–"/>
              <a:defRPr/>
            </a:lvl3pPr>
            <a:lvl4pPr marL="681740" indent="-172324">
              <a:spcBef>
                <a:spcPts val="476"/>
              </a:spcBef>
              <a:defRPr/>
            </a:lvl4pPr>
            <a:lvl5pPr marL="854064" indent="-172324">
              <a:spcBef>
                <a:spcPts val="476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5193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0" y="1308101"/>
            <a:ext cx="4143618" cy="4765675"/>
          </a:xfrm>
        </p:spPr>
        <p:txBody>
          <a:bodyPr lIns="0" tIns="0" rIns="0" bIns="0"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4357" y="1308101"/>
            <a:ext cx="4143618" cy="4765675"/>
          </a:xfrm>
        </p:spPr>
        <p:txBody>
          <a:bodyPr lIns="0" tIns="0" rIns="0" bIns="0"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577425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12750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6503487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2"/>
          </p:nvPr>
        </p:nvSpPr>
        <p:spPr>
          <a:xfrm>
            <a:off x="3458119" y="1308101"/>
            <a:ext cx="2694488" cy="4765675"/>
          </a:xfrm>
        </p:spPr>
        <p:txBody>
          <a:bodyPr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82994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1" y="1308100"/>
            <a:ext cx="8785225" cy="596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24" b="1"/>
            </a:lvl1pPr>
            <a:lvl2pPr marL="215959" indent="0">
              <a:buNone/>
              <a:defRPr/>
            </a:lvl2pPr>
            <a:lvl3pPr marL="486765" indent="0">
              <a:buNone/>
              <a:defRPr/>
            </a:lvl3pPr>
            <a:lvl4pPr marL="654733" indent="0">
              <a:buNone/>
              <a:defRPr/>
            </a:lvl4pPr>
            <a:lvl5pPr marL="82612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12751" y="2176782"/>
            <a:ext cx="8785225" cy="3896995"/>
          </a:xfrm>
        </p:spPr>
        <p:txBody>
          <a:bodyPr/>
          <a:lstStyle>
            <a:lvl1pPr marL="0" indent="0">
              <a:buNone/>
              <a:defRPr sz="1143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9378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Sapphi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2" y="2130432"/>
            <a:ext cx="6003588" cy="996403"/>
          </a:xfrm>
        </p:spPr>
        <p:txBody>
          <a:bodyPr anchor="b" anchorCtr="0"/>
          <a:lstStyle>
            <a:lvl1pPr>
              <a:defRPr sz="3047" spc="38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07575" y="3135583"/>
            <a:ext cx="6003588" cy="931041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047" cap="all" spc="286">
                <a:solidFill>
                  <a:schemeClr val="accent1"/>
                </a:solidFill>
                <a:latin typeface="Arial"/>
                <a:cs typeface="Arial"/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B30780-9B7F-104A-9D86-50A63F56C5DF}"/>
              </a:ext>
            </a:extLst>
          </p:cNvPr>
          <p:cNvSpPr txBox="1"/>
          <p:nvPr userDrawn="1"/>
        </p:nvSpPr>
        <p:spPr>
          <a:xfrm>
            <a:off x="901337" y="1476103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2324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0" y="1308100"/>
            <a:ext cx="4143618" cy="4765675"/>
          </a:xfrm>
        </p:spPr>
        <p:txBody>
          <a:bodyPr lIns="0" tIns="0" rIns="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4357" y="1308100"/>
            <a:ext cx="4143618" cy="4765675"/>
          </a:xfrm>
        </p:spPr>
        <p:txBody>
          <a:bodyPr lIns="0" tIns="0" rIns="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1823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2" y="2130432"/>
            <a:ext cx="6003588" cy="996403"/>
          </a:xfrm>
        </p:spPr>
        <p:txBody>
          <a:bodyPr anchor="b" anchorCtr="0"/>
          <a:lstStyle>
            <a:lvl1pPr>
              <a:defRPr sz="3047" spc="38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itle Placeholder 1"/>
          <p:cNvSpPr txBox="1">
            <a:spLocks/>
          </p:cNvSpPr>
          <p:nvPr userDrawn="1"/>
        </p:nvSpPr>
        <p:spPr>
          <a:xfrm>
            <a:off x="407574" y="382760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952" b="1" kern="0" spc="286" dirty="0">
                <a:solidFill>
                  <a:srgbClr val="FFFFFF"/>
                </a:solidFill>
              </a:rPr>
              <a:t>Presentation title here</a:t>
            </a:r>
            <a:endParaRPr lang="en-US" sz="952" b="1" kern="0" spc="286" dirty="0">
              <a:solidFill>
                <a:srgbClr val="FFFFFF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21" y="6468878"/>
            <a:ext cx="600074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952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952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6F0A65-D498-AF47-8D51-114CFCBAD8DA}"/>
              </a:ext>
            </a:extLst>
          </p:cNvPr>
          <p:cNvSpPr txBox="1"/>
          <p:nvPr userDrawn="1"/>
        </p:nvSpPr>
        <p:spPr>
          <a:xfrm>
            <a:off x="2508069" y="5133703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551A66-E96D-8346-B9FC-9332AA6E6E85}"/>
              </a:ext>
            </a:extLst>
          </p:cNvPr>
          <p:cNvSpPr txBox="1"/>
          <p:nvPr userDrawn="1"/>
        </p:nvSpPr>
        <p:spPr>
          <a:xfrm>
            <a:off x="8190410" y="209006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46607B-99C8-6945-97A6-FE5F4290F21B}"/>
              </a:ext>
            </a:extLst>
          </p:cNvPr>
          <p:cNvSpPr txBox="1"/>
          <p:nvPr userDrawn="1"/>
        </p:nvSpPr>
        <p:spPr>
          <a:xfrm>
            <a:off x="8360229" y="692331"/>
            <a:ext cx="0" cy="0"/>
          </a:xfrm>
          <a:prstGeom prst="rect">
            <a:avLst/>
          </a:prstGeom>
          <a:noFill/>
        </p:spPr>
        <p:txBody>
          <a:bodyPr wrap="non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endParaRPr lang="en-US" sz="1333" b="1" i="0" u="none" strike="noStrike" kern="1200" cap="all" spc="19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9371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Ruby">
    <p:bg>
      <p:bgPr>
        <a:solidFill>
          <a:srgbClr val="002C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C344362-C75E-884A-9AE3-ACA0626C7214}"/>
              </a:ext>
            </a:extLst>
          </p:cNvPr>
          <p:cNvSpPr/>
          <p:nvPr userDrawn="1"/>
        </p:nvSpPr>
        <p:spPr>
          <a:xfrm>
            <a:off x="4295553" y="-100013"/>
            <a:ext cx="5314124" cy="6386072"/>
          </a:xfrm>
          <a:custGeom>
            <a:avLst/>
            <a:gdLst>
              <a:gd name="connsiteX0" fmla="*/ 0 w 7102548"/>
              <a:gd name="connsiteY0" fmla="*/ 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0 w 7102548"/>
              <a:gd name="connsiteY4" fmla="*/ 0 h 7102549"/>
              <a:gd name="connsiteX0" fmla="*/ 3530010 w 7102548"/>
              <a:gd name="connsiteY0" fmla="*/ 3444949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530010 w 7102548"/>
              <a:gd name="connsiteY4" fmla="*/ 3444949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102548 w 7102548"/>
              <a:gd name="connsiteY2" fmla="*/ 7102549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6868632 w 7102548"/>
              <a:gd name="connsiteY2" fmla="*/ 671977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38624 w 7102548"/>
              <a:gd name="connsiteY0" fmla="*/ 3657600 h 7102549"/>
              <a:gd name="connsiteX1" fmla="*/ 7102548 w 7102548"/>
              <a:gd name="connsiteY1" fmla="*/ 0 h 7102549"/>
              <a:gd name="connsiteX2" fmla="*/ 7081283 w 7102548"/>
              <a:gd name="connsiteY2" fmla="*/ 6889897 h 7102549"/>
              <a:gd name="connsiteX3" fmla="*/ 0 w 7102548"/>
              <a:gd name="connsiteY3" fmla="*/ 7102549 h 7102549"/>
              <a:gd name="connsiteX4" fmla="*/ 3338624 w 7102548"/>
              <a:gd name="connsiteY4" fmla="*/ 3657600 h 7102549"/>
              <a:gd name="connsiteX0" fmla="*/ 3317359 w 7081283"/>
              <a:gd name="connsiteY0" fmla="*/ 3657600 h 6889897"/>
              <a:gd name="connsiteX1" fmla="*/ 7081283 w 7081283"/>
              <a:gd name="connsiteY1" fmla="*/ 0 h 6889897"/>
              <a:gd name="connsiteX2" fmla="*/ 7060018 w 7081283"/>
              <a:gd name="connsiteY2" fmla="*/ 6889897 h 6889897"/>
              <a:gd name="connsiteX3" fmla="*/ 0 w 7081283"/>
              <a:gd name="connsiteY3" fmla="*/ 6889897 h 6889897"/>
              <a:gd name="connsiteX4" fmla="*/ 3317359 w 7081283"/>
              <a:gd name="connsiteY4" fmla="*/ 3657600 h 6889897"/>
              <a:gd name="connsiteX0" fmla="*/ 3253564 w 7017488"/>
              <a:gd name="connsiteY0" fmla="*/ 3657600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3253564 w 7017488"/>
              <a:gd name="connsiteY4" fmla="*/ 3657600 h 6889897"/>
              <a:gd name="connsiteX0" fmla="*/ 5167424 w 7017488"/>
              <a:gd name="connsiteY0" fmla="*/ 21265 h 6889897"/>
              <a:gd name="connsiteX1" fmla="*/ 7017488 w 7017488"/>
              <a:gd name="connsiteY1" fmla="*/ 0 h 6889897"/>
              <a:gd name="connsiteX2" fmla="*/ 6996223 w 7017488"/>
              <a:gd name="connsiteY2" fmla="*/ 6889897 h 6889897"/>
              <a:gd name="connsiteX3" fmla="*/ 0 w 7017488"/>
              <a:gd name="connsiteY3" fmla="*/ 6889897 h 6889897"/>
              <a:gd name="connsiteX4" fmla="*/ 5167424 w 7017488"/>
              <a:gd name="connsiteY4" fmla="*/ 21265 h 6889897"/>
              <a:gd name="connsiteX0" fmla="*/ 2934587 w 4784651"/>
              <a:gd name="connsiteY0" fmla="*/ 21265 h 6889897"/>
              <a:gd name="connsiteX1" fmla="*/ 4784651 w 4784651"/>
              <a:gd name="connsiteY1" fmla="*/ 0 h 6889897"/>
              <a:gd name="connsiteX2" fmla="*/ 4763386 w 4784651"/>
              <a:gd name="connsiteY2" fmla="*/ 6889897 h 6889897"/>
              <a:gd name="connsiteX3" fmla="*/ 0 w 4784651"/>
              <a:gd name="connsiteY3" fmla="*/ 6826101 h 6889897"/>
              <a:gd name="connsiteX4" fmla="*/ 2934587 w 4784651"/>
              <a:gd name="connsiteY4" fmla="*/ 21265 h 6889897"/>
              <a:gd name="connsiteX0" fmla="*/ 3891517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3891517 w 5741581"/>
              <a:gd name="connsiteY4" fmla="*/ 21265 h 6911161"/>
              <a:gd name="connsiteX0" fmla="*/ 4019108 w 5741581"/>
              <a:gd name="connsiteY0" fmla="*/ 21265 h 6911161"/>
              <a:gd name="connsiteX1" fmla="*/ 5741581 w 5741581"/>
              <a:gd name="connsiteY1" fmla="*/ 0 h 6911161"/>
              <a:gd name="connsiteX2" fmla="*/ 5720316 w 5741581"/>
              <a:gd name="connsiteY2" fmla="*/ 6889897 h 6911161"/>
              <a:gd name="connsiteX3" fmla="*/ 0 w 5741581"/>
              <a:gd name="connsiteY3" fmla="*/ 6911161 h 6911161"/>
              <a:gd name="connsiteX4" fmla="*/ 4019108 w 5741581"/>
              <a:gd name="connsiteY4" fmla="*/ 21265 h 691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41581" h="6911161">
                <a:moveTo>
                  <a:pt x="4019108" y="21265"/>
                </a:moveTo>
                <a:lnTo>
                  <a:pt x="5741581" y="0"/>
                </a:lnTo>
                <a:cubicBezTo>
                  <a:pt x="5734493" y="2296632"/>
                  <a:pt x="5727404" y="4593265"/>
                  <a:pt x="5720316" y="6889897"/>
                </a:cubicBezTo>
                <a:lnTo>
                  <a:pt x="0" y="6911161"/>
                </a:lnTo>
                <a:lnTo>
                  <a:pt x="4019108" y="21265"/>
                </a:lnTo>
                <a:close/>
              </a:path>
            </a:pathLst>
          </a:custGeom>
          <a:blipFill dpi="0" rotWithShape="1">
            <a:blip r:embed="rId2"/>
            <a:srcRect/>
            <a:tile tx="-692150" ty="-596900" sx="50000" sy="50000" flip="none" algn="ctr"/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6387355"/>
            <a:ext cx="9602788" cy="470647"/>
          </a:xfrm>
          <a:prstGeom prst="rect">
            <a:avLst/>
          </a:prstGeom>
          <a:solidFill>
            <a:srgbClr val="002C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21" y="6468878"/>
            <a:ext cx="600074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952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952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Isosceles Triangle 23">
            <a:extLst>
              <a:ext uri="{FF2B5EF4-FFF2-40B4-BE49-F238E27FC236}">
                <a16:creationId xmlns:a16="http://schemas.microsoft.com/office/drawing/2014/main" id="{C6B82853-D310-8943-9340-3A84414BB07F}"/>
              </a:ext>
            </a:extLst>
          </p:cNvPr>
          <p:cNvSpPr/>
          <p:nvPr userDrawn="1"/>
        </p:nvSpPr>
        <p:spPr>
          <a:xfrm>
            <a:off x="4295553" y="4778782"/>
            <a:ext cx="1748443" cy="1507279"/>
          </a:xfrm>
          <a:prstGeom prst="triangle">
            <a:avLst/>
          </a:prstGeom>
          <a:solidFill>
            <a:srgbClr val="0D6CA5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9" name="Isosceles Triangle 11">
            <a:extLst>
              <a:ext uri="{FF2B5EF4-FFF2-40B4-BE49-F238E27FC236}">
                <a16:creationId xmlns:a16="http://schemas.microsoft.com/office/drawing/2014/main" id="{1A7275F1-FCBC-7F42-AC84-E3937C24EACA}"/>
              </a:ext>
            </a:extLst>
          </p:cNvPr>
          <p:cNvSpPr/>
          <p:nvPr userDrawn="1"/>
        </p:nvSpPr>
        <p:spPr>
          <a:xfrm>
            <a:off x="5157866" y="3232456"/>
            <a:ext cx="1793737" cy="1546324"/>
          </a:xfrm>
          <a:prstGeom prst="triangle">
            <a:avLst/>
          </a:prstGeom>
          <a:solidFill>
            <a:srgbClr val="1297BB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21" name="Isosceles Triangle 24">
            <a:extLst>
              <a:ext uri="{FF2B5EF4-FFF2-40B4-BE49-F238E27FC236}">
                <a16:creationId xmlns:a16="http://schemas.microsoft.com/office/drawing/2014/main" id="{1B5C8EBB-2CF6-9748-BCB5-A89A410D5920}"/>
              </a:ext>
            </a:extLst>
          </p:cNvPr>
          <p:cNvSpPr/>
          <p:nvPr userDrawn="1"/>
        </p:nvSpPr>
        <p:spPr>
          <a:xfrm rot="10800000">
            <a:off x="6177214" y="0"/>
            <a:ext cx="1793737" cy="15463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456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36025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Reverse">
    <p:bg>
      <p:bgPr>
        <a:solidFill>
          <a:srgbClr val="0331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" y="4347882"/>
            <a:ext cx="9602787" cy="2510118"/>
          </a:xfrm>
          <a:prstGeom prst="rect">
            <a:avLst/>
          </a:prstGeom>
          <a:solidFill>
            <a:srgbClr val="03316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24" dirty="0" err="1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7536" y="5742007"/>
            <a:ext cx="5952140" cy="7624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>
              <a:lnSpc>
                <a:spcPct val="100000"/>
              </a:lnSpc>
            </a:pPr>
            <a:endParaRPr lang="en-IN" sz="667" b="0" i="0" u="none" strike="noStrike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endParaRPr lang="en-US" sz="762" b="0" i="0" u="none" strike="noStrike" kern="1200" baseline="0" dirty="0">
              <a:solidFill>
                <a:srgbClr val="FFFFFF"/>
              </a:solidFill>
              <a:latin typeface="Arial" charset="0"/>
              <a:ea typeface="+mn-ea"/>
              <a:cs typeface="+mn-cs"/>
            </a:endParaRPr>
          </a:p>
          <a:p>
            <a:pPr algn="l"/>
            <a:r>
              <a:rPr lang="en-US" sz="667" b="0" i="0" u="none" strike="noStrike" kern="1200" baseline="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© 2019 MERCER METTL / PROFILE AND CAPABILITY DECK 201901</a:t>
            </a:r>
            <a:endParaRPr lang="en-US" sz="667" dirty="0">
              <a:solidFill>
                <a:srgbClr val="FFFF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A5A07E-3887-0140-982E-04DA9AC8B781}"/>
              </a:ext>
            </a:extLst>
          </p:cNvPr>
          <p:cNvSpPr txBox="1"/>
          <p:nvPr userDrawn="1"/>
        </p:nvSpPr>
        <p:spPr>
          <a:xfrm>
            <a:off x="2002056" y="3081804"/>
            <a:ext cx="5640404" cy="811803"/>
          </a:xfrm>
          <a:prstGeom prst="rect">
            <a:avLst/>
          </a:prstGeom>
          <a:noFill/>
        </p:spPr>
        <p:txBody>
          <a:bodyPr wrap="square" lIns="68560" tIns="68560" rIns="68560" bIns="68560" rtlCol="0" anchor="ctr" anchorCtr="0">
            <a:noAutofit/>
          </a:bodyPr>
          <a:lstStyle/>
          <a:p>
            <a:pPr algn="ctr">
              <a:spcBef>
                <a:spcPts val="190"/>
              </a:spcBef>
              <a:spcAft>
                <a:spcPts val="190"/>
              </a:spcAft>
            </a:pPr>
            <a:r>
              <a:rPr lang="en-US" sz="2285" b="1" i="0" u="none" strike="noStrike" kern="1200" cap="all" spc="19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ILD WINNING TEA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98699B-3934-4049-A671-CD2B685F7B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215" y="2195714"/>
            <a:ext cx="4356085" cy="86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828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790" y="2878074"/>
            <a:ext cx="509320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1047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pphire -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4"/>
          <p:cNvSpPr>
            <a:spLocks noGrp="1"/>
          </p:cNvSpPr>
          <p:nvPr>
            <p:ph sz="quarter" idx="10"/>
          </p:nvPr>
        </p:nvSpPr>
        <p:spPr>
          <a:xfrm>
            <a:off x="407594" y="1278001"/>
            <a:ext cx="2366682" cy="4735191"/>
          </a:xfrm>
        </p:spPr>
        <p:txBody>
          <a:bodyPr/>
          <a:lstStyle>
            <a:lvl1pPr marL="0" indent="0">
              <a:buClr>
                <a:schemeClr val="accent1"/>
              </a:buClr>
              <a:buFont typeface="Arial"/>
              <a:buNone/>
              <a:defRPr sz="1524"/>
            </a:lvl1pPr>
            <a:lvl2pPr marL="0" indent="0">
              <a:buClr>
                <a:schemeClr val="accent1"/>
              </a:buClr>
              <a:buFont typeface="Arial"/>
              <a:buNone/>
              <a:defRPr sz="1524"/>
            </a:lvl2pPr>
            <a:lvl3pPr marL="0" indent="0">
              <a:buClr>
                <a:schemeClr val="accent1"/>
              </a:buClr>
              <a:buFont typeface="Arial"/>
              <a:buNone/>
              <a:defRPr sz="1524"/>
            </a:lvl3pPr>
            <a:lvl4pPr marL="0" indent="0">
              <a:buClr>
                <a:schemeClr val="accent1"/>
              </a:buClr>
              <a:buFont typeface="Arial"/>
              <a:buNone/>
              <a:defRPr sz="1524"/>
            </a:lvl4pPr>
            <a:lvl5pPr marL="0" indent="0">
              <a:buClr>
                <a:schemeClr val="accent1"/>
              </a:buClr>
              <a:buFont typeface="Arial"/>
              <a:buNone/>
              <a:defRPr sz="1524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003265" y="1277471"/>
            <a:ext cx="6597934" cy="47363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38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82213-C1F3-4922-9B73-4543CFCA7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90E2DD-EB90-434C-B5CF-9AE6F637DF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04210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8AC48-78E0-45CA-8A00-470A7EECE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A1AC16-1E64-4CBB-ACF3-F44ED19E5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02072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89253-21DD-458F-A1A9-B4CBEF22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B3029-9CB3-4316-80B8-7E9940DFCD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56905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F3289-EE68-4F92-A3AF-11ACA7EE8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84B98-7988-4204-A138-9BE5A3A57E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4277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12750" y="1308100"/>
            <a:ext cx="2694488" cy="47656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6503486" y="1308100"/>
            <a:ext cx="2694488" cy="47656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2"/>
          </p:nvPr>
        </p:nvSpPr>
        <p:spPr>
          <a:xfrm>
            <a:off x="3458118" y="1308100"/>
            <a:ext cx="2694488" cy="47656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557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85C5E-460A-41F6-9A08-8FCE0E2F3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66FB8-1C78-4994-B538-9BB7A4D31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77008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69" y="1591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69" y="1591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06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3120" y="381600"/>
            <a:ext cx="8719553" cy="69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BodyText"/>
          <p:cNvSpPr>
            <a:spLocks noGrp="1"/>
          </p:cNvSpPr>
          <p:nvPr>
            <p:ph idx="1"/>
          </p:nvPr>
        </p:nvSpPr>
        <p:spPr>
          <a:xfrm>
            <a:off x="480140" y="1600200"/>
            <a:ext cx="8722532" cy="4598894"/>
          </a:xfrm>
        </p:spPr>
        <p:txBody>
          <a:bodyPr/>
          <a:lstStyle>
            <a:lvl1pPr>
              <a:spcBef>
                <a:spcPts val="1333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spcBef>
                <a:spcPts val="476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80140" y="1219200"/>
            <a:ext cx="8722532" cy="381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333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GB" dirty="0"/>
              <a:t>Slide Title XX</a:t>
            </a:r>
          </a:p>
          <a:p>
            <a:pPr lvl="0"/>
            <a:r>
              <a:rPr lang="en-GB" sz="952" dirty="0"/>
              <a:t>Descrip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83030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DEADC06-1B11-6244-A729-CED7B100C2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r="12380"/>
          <a:stretch/>
        </p:blipFill>
        <p:spPr>
          <a:xfrm>
            <a:off x="3093082" y="4038"/>
            <a:ext cx="6509707" cy="6134512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 userDrawn="1"/>
        </p:nvSpPr>
        <p:spPr>
          <a:xfrm>
            <a:off x="-24241" y="1"/>
            <a:ext cx="6382638" cy="6286060"/>
          </a:xfrm>
          <a:custGeom>
            <a:avLst/>
            <a:gdLst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5000222 w 7432153"/>
              <a:gd name="connsiteY5" fmla="*/ 4160104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228228 w 7432153"/>
              <a:gd name="connsiteY5" fmla="*/ 3732885 h 6146644"/>
              <a:gd name="connsiteX6" fmla="*/ 4562736 w 7432153"/>
              <a:gd name="connsiteY6" fmla="*/ 4904720 h 6146644"/>
              <a:gd name="connsiteX7" fmla="*/ 3833321 w 7432153"/>
              <a:gd name="connsiteY7" fmla="*/ 6146644 h 6146644"/>
              <a:gd name="connsiteX8" fmla="*/ 271083 w 7432153"/>
              <a:gd name="connsiteY8" fmla="*/ 6141147 h 6146644"/>
              <a:gd name="connsiteX9" fmla="*/ 271083 w 7432153"/>
              <a:gd name="connsiteY9" fmla="*/ 6146644 h 6146644"/>
              <a:gd name="connsiteX10" fmla="*/ 0 w 7432153"/>
              <a:gd name="connsiteY10" fmla="*/ 6146644 h 6146644"/>
              <a:gd name="connsiteX11" fmla="*/ 0 w 7432153"/>
              <a:gd name="connsiteY11" fmla="*/ 0 h 6146644"/>
              <a:gd name="connsiteX0" fmla="*/ 0 w 7432153"/>
              <a:gd name="connsiteY0" fmla="*/ 0 h 6146644"/>
              <a:gd name="connsiteX1" fmla="*/ 43123 w 7432153"/>
              <a:gd name="connsiteY1" fmla="*/ 0 h 6146644"/>
              <a:gd name="connsiteX2" fmla="*/ 271083 w 7432153"/>
              <a:gd name="connsiteY2" fmla="*/ 0 h 6146644"/>
              <a:gd name="connsiteX3" fmla="*/ 7432153 w 7432153"/>
              <a:gd name="connsiteY3" fmla="*/ 0 h 6146644"/>
              <a:gd name="connsiteX4" fmla="*/ 5286636 w 7432153"/>
              <a:gd name="connsiteY4" fmla="*/ 3675297 h 6146644"/>
              <a:gd name="connsiteX5" fmla="*/ 4562736 w 7432153"/>
              <a:gd name="connsiteY5" fmla="*/ 4904720 h 6146644"/>
              <a:gd name="connsiteX6" fmla="*/ 3833321 w 7432153"/>
              <a:gd name="connsiteY6" fmla="*/ 6146644 h 6146644"/>
              <a:gd name="connsiteX7" fmla="*/ 271083 w 7432153"/>
              <a:gd name="connsiteY7" fmla="*/ 6141147 h 6146644"/>
              <a:gd name="connsiteX8" fmla="*/ 271083 w 7432153"/>
              <a:gd name="connsiteY8" fmla="*/ 6146644 h 6146644"/>
              <a:gd name="connsiteX9" fmla="*/ 0 w 7432153"/>
              <a:gd name="connsiteY9" fmla="*/ 6146644 h 6146644"/>
              <a:gd name="connsiteX10" fmla="*/ 0 w 7432153"/>
              <a:gd name="connsiteY10" fmla="*/ 0 h 6146644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271083 w 7432153"/>
              <a:gd name="connsiteY7" fmla="*/ 6141147 h 6204517"/>
              <a:gd name="connsiteX8" fmla="*/ 271083 w 7432153"/>
              <a:gd name="connsiteY8" fmla="*/ 6146644 h 6204517"/>
              <a:gd name="connsiteX9" fmla="*/ 0 w 7432153"/>
              <a:gd name="connsiteY9" fmla="*/ 6146644 h 6204517"/>
              <a:gd name="connsiteX10" fmla="*/ 0 w 7432153"/>
              <a:gd name="connsiteY10" fmla="*/ 0 h 6204517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271083 w 7432153"/>
              <a:gd name="connsiteY7" fmla="*/ 6141147 h 6204517"/>
              <a:gd name="connsiteX8" fmla="*/ 0 w 7432153"/>
              <a:gd name="connsiteY8" fmla="*/ 6146644 h 6204517"/>
              <a:gd name="connsiteX9" fmla="*/ 0 w 7432153"/>
              <a:gd name="connsiteY9" fmla="*/ 0 h 6204517"/>
              <a:gd name="connsiteX0" fmla="*/ 0 w 7432153"/>
              <a:gd name="connsiteY0" fmla="*/ 0 h 6204517"/>
              <a:gd name="connsiteX1" fmla="*/ 43123 w 7432153"/>
              <a:gd name="connsiteY1" fmla="*/ 0 h 6204517"/>
              <a:gd name="connsiteX2" fmla="*/ 271083 w 7432153"/>
              <a:gd name="connsiteY2" fmla="*/ 0 h 6204517"/>
              <a:gd name="connsiteX3" fmla="*/ 7432153 w 7432153"/>
              <a:gd name="connsiteY3" fmla="*/ 0 h 6204517"/>
              <a:gd name="connsiteX4" fmla="*/ 5286636 w 7432153"/>
              <a:gd name="connsiteY4" fmla="*/ 3675297 h 6204517"/>
              <a:gd name="connsiteX5" fmla="*/ 4562736 w 7432153"/>
              <a:gd name="connsiteY5" fmla="*/ 4904720 h 6204517"/>
              <a:gd name="connsiteX6" fmla="*/ 3810172 w 7432153"/>
              <a:gd name="connsiteY6" fmla="*/ 6204517 h 6204517"/>
              <a:gd name="connsiteX7" fmla="*/ 0 w 7432153"/>
              <a:gd name="connsiteY7" fmla="*/ 6146644 h 6204517"/>
              <a:gd name="connsiteX8" fmla="*/ 0 w 7432153"/>
              <a:gd name="connsiteY8" fmla="*/ 0 h 6204517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3740 w 7435893"/>
              <a:gd name="connsiteY0" fmla="*/ 0 h 6227666"/>
              <a:gd name="connsiteX1" fmla="*/ 46863 w 7435893"/>
              <a:gd name="connsiteY1" fmla="*/ 0 h 6227666"/>
              <a:gd name="connsiteX2" fmla="*/ 274823 w 7435893"/>
              <a:gd name="connsiteY2" fmla="*/ 0 h 6227666"/>
              <a:gd name="connsiteX3" fmla="*/ 7435893 w 7435893"/>
              <a:gd name="connsiteY3" fmla="*/ 0 h 6227666"/>
              <a:gd name="connsiteX4" fmla="*/ 5290376 w 7435893"/>
              <a:gd name="connsiteY4" fmla="*/ 3675297 h 6227666"/>
              <a:gd name="connsiteX5" fmla="*/ 4566476 w 7435893"/>
              <a:gd name="connsiteY5" fmla="*/ 4904720 h 6227666"/>
              <a:gd name="connsiteX6" fmla="*/ 3813912 w 7435893"/>
              <a:gd name="connsiteY6" fmla="*/ 6204517 h 6227666"/>
              <a:gd name="connsiteX7" fmla="*/ 3740 w 7435893"/>
              <a:gd name="connsiteY7" fmla="*/ 6227666 h 6227666"/>
              <a:gd name="connsiteX8" fmla="*/ 3740 w 7435893"/>
              <a:gd name="connsiteY8" fmla="*/ 0 h 6227666"/>
              <a:gd name="connsiteX0" fmla="*/ 24317 w 7456470"/>
              <a:gd name="connsiteY0" fmla="*/ 0 h 6227676"/>
              <a:gd name="connsiteX1" fmla="*/ 67440 w 7456470"/>
              <a:gd name="connsiteY1" fmla="*/ 0 h 6227676"/>
              <a:gd name="connsiteX2" fmla="*/ 295400 w 7456470"/>
              <a:gd name="connsiteY2" fmla="*/ 0 h 6227676"/>
              <a:gd name="connsiteX3" fmla="*/ 7456470 w 7456470"/>
              <a:gd name="connsiteY3" fmla="*/ 0 h 6227676"/>
              <a:gd name="connsiteX4" fmla="*/ 5310953 w 7456470"/>
              <a:gd name="connsiteY4" fmla="*/ 3675297 h 6227676"/>
              <a:gd name="connsiteX5" fmla="*/ 4587053 w 7456470"/>
              <a:gd name="connsiteY5" fmla="*/ 4904720 h 6227676"/>
              <a:gd name="connsiteX6" fmla="*/ 3834489 w 7456470"/>
              <a:gd name="connsiteY6" fmla="*/ 6204517 h 6227676"/>
              <a:gd name="connsiteX7" fmla="*/ 24317 w 7456470"/>
              <a:gd name="connsiteY7" fmla="*/ 6227666 h 6227676"/>
              <a:gd name="connsiteX8" fmla="*/ 24317 w 7456470"/>
              <a:gd name="connsiteY8" fmla="*/ 0 h 622767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0 w 7432153"/>
              <a:gd name="connsiteY0" fmla="*/ 0 h 6227666"/>
              <a:gd name="connsiteX1" fmla="*/ 43123 w 7432153"/>
              <a:gd name="connsiteY1" fmla="*/ 0 h 6227666"/>
              <a:gd name="connsiteX2" fmla="*/ 271083 w 7432153"/>
              <a:gd name="connsiteY2" fmla="*/ 0 h 6227666"/>
              <a:gd name="connsiteX3" fmla="*/ 7432153 w 7432153"/>
              <a:gd name="connsiteY3" fmla="*/ 0 h 6227666"/>
              <a:gd name="connsiteX4" fmla="*/ 5286636 w 7432153"/>
              <a:gd name="connsiteY4" fmla="*/ 3675297 h 6227666"/>
              <a:gd name="connsiteX5" fmla="*/ 4562736 w 7432153"/>
              <a:gd name="connsiteY5" fmla="*/ 4904720 h 6227666"/>
              <a:gd name="connsiteX6" fmla="*/ 3810172 w 7432153"/>
              <a:gd name="connsiteY6" fmla="*/ 6204517 h 6227666"/>
              <a:gd name="connsiteX7" fmla="*/ 0 w 7432153"/>
              <a:gd name="connsiteY7" fmla="*/ 6227666 h 6227666"/>
              <a:gd name="connsiteX8" fmla="*/ 0 w 7432153"/>
              <a:gd name="connsiteY8" fmla="*/ 0 h 6227666"/>
              <a:gd name="connsiteX0" fmla="*/ 34606 w 7466759"/>
              <a:gd name="connsiteY0" fmla="*/ 0 h 6227666"/>
              <a:gd name="connsiteX1" fmla="*/ 77729 w 7466759"/>
              <a:gd name="connsiteY1" fmla="*/ 0 h 6227666"/>
              <a:gd name="connsiteX2" fmla="*/ 305689 w 7466759"/>
              <a:gd name="connsiteY2" fmla="*/ 0 h 6227666"/>
              <a:gd name="connsiteX3" fmla="*/ 7466759 w 7466759"/>
              <a:gd name="connsiteY3" fmla="*/ 0 h 6227666"/>
              <a:gd name="connsiteX4" fmla="*/ 5321242 w 7466759"/>
              <a:gd name="connsiteY4" fmla="*/ 3675297 h 6227666"/>
              <a:gd name="connsiteX5" fmla="*/ 4597342 w 7466759"/>
              <a:gd name="connsiteY5" fmla="*/ 4904720 h 6227666"/>
              <a:gd name="connsiteX6" fmla="*/ 3844778 w 7466759"/>
              <a:gd name="connsiteY6" fmla="*/ 6204517 h 6227666"/>
              <a:gd name="connsiteX7" fmla="*/ 34606 w 7466759"/>
              <a:gd name="connsiteY7" fmla="*/ 6227666 h 6227666"/>
              <a:gd name="connsiteX8" fmla="*/ 34606 w 7466759"/>
              <a:gd name="connsiteY8" fmla="*/ 0 h 6227666"/>
              <a:gd name="connsiteX0" fmla="*/ 34606 w 7466759"/>
              <a:gd name="connsiteY0" fmla="*/ 0 h 6227666"/>
              <a:gd name="connsiteX1" fmla="*/ 77729 w 7466759"/>
              <a:gd name="connsiteY1" fmla="*/ 0 h 6227666"/>
              <a:gd name="connsiteX2" fmla="*/ 305689 w 7466759"/>
              <a:gd name="connsiteY2" fmla="*/ 0 h 6227666"/>
              <a:gd name="connsiteX3" fmla="*/ 7466759 w 7466759"/>
              <a:gd name="connsiteY3" fmla="*/ 0 h 6227666"/>
              <a:gd name="connsiteX4" fmla="*/ 5321242 w 7466759"/>
              <a:gd name="connsiteY4" fmla="*/ 3675297 h 6227666"/>
              <a:gd name="connsiteX5" fmla="*/ 4597342 w 7466759"/>
              <a:gd name="connsiteY5" fmla="*/ 4904720 h 6227666"/>
              <a:gd name="connsiteX6" fmla="*/ 3844778 w 7466759"/>
              <a:gd name="connsiteY6" fmla="*/ 6204517 h 6227666"/>
              <a:gd name="connsiteX7" fmla="*/ 34606 w 7466759"/>
              <a:gd name="connsiteY7" fmla="*/ 6227666 h 6227666"/>
              <a:gd name="connsiteX8" fmla="*/ 34606 w 7466759"/>
              <a:gd name="connsiteY8" fmla="*/ 0 h 6227666"/>
              <a:gd name="connsiteX0" fmla="*/ 87352 w 7519505"/>
              <a:gd name="connsiteY0" fmla="*/ 0 h 6236810"/>
              <a:gd name="connsiteX1" fmla="*/ 130475 w 7519505"/>
              <a:gd name="connsiteY1" fmla="*/ 0 h 6236810"/>
              <a:gd name="connsiteX2" fmla="*/ 358435 w 7519505"/>
              <a:gd name="connsiteY2" fmla="*/ 0 h 6236810"/>
              <a:gd name="connsiteX3" fmla="*/ 7519505 w 7519505"/>
              <a:gd name="connsiteY3" fmla="*/ 0 h 6236810"/>
              <a:gd name="connsiteX4" fmla="*/ 5373988 w 7519505"/>
              <a:gd name="connsiteY4" fmla="*/ 3675297 h 6236810"/>
              <a:gd name="connsiteX5" fmla="*/ 4650088 w 7519505"/>
              <a:gd name="connsiteY5" fmla="*/ 4904720 h 6236810"/>
              <a:gd name="connsiteX6" fmla="*/ 3897524 w 7519505"/>
              <a:gd name="connsiteY6" fmla="*/ 6204517 h 6236810"/>
              <a:gd name="connsiteX7" fmla="*/ 23344 w 7519505"/>
              <a:gd name="connsiteY7" fmla="*/ 6236810 h 6236810"/>
              <a:gd name="connsiteX8" fmla="*/ 87352 w 7519505"/>
              <a:gd name="connsiteY8" fmla="*/ 0 h 6236810"/>
              <a:gd name="connsiteX0" fmla="*/ 72713 w 7504866"/>
              <a:gd name="connsiteY0" fmla="*/ 0 h 6236837"/>
              <a:gd name="connsiteX1" fmla="*/ 115836 w 7504866"/>
              <a:gd name="connsiteY1" fmla="*/ 0 h 6236837"/>
              <a:gd name="connsiteX2" fmla="*/ 343796 w 7504866"/>
              <a:gd name="connsiteY2" fmla="*/ 0 h 6236837"/>
              <a:gd name="connsiteX3" fmla="*/ 7504866 w 7504866"/>
              <a:gd name="connsiteY3" fmla="*/ 0 h 6236837"/>
              <a:gd name="connsiteX4" fmla="*/ 5359349 w 7504866"/>
              <a:gd name="connsiteY4" fmla="*/ 3675297 h 6236837"/>
              <a:gd name="connsiteX5" fmla="*/ 4635449 w 7504866"/>
              <a:gd name="connsiteY5" fmla="*/ 4904720 h 6236837"/>
              <a:gd name="connsiteX6" fmla="*/ 3882885 w 7504866"/>
              <a:gd name="connsiteY6" fmla="*/ 6204517 h 6236837"/>
              <a:gd name="connsiteX7" fmla="*/ 8705 w 7504866"/>
              <a:gd name="connsiteY7" fmla="*/ 6236810 h 6236837"/>
              <a:gd name="connsiteX8" fmla="*/ 72713 w 7504866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586977 w 7456394"/>
              <a:gd name="connsiteY5" fmla="*/ 4904720 h 6236837"/>
              <a:gd name="connsiteX6" fmla="*/ 3834413 w 7456394"/>
              <a:gd name="connsiteY6" fmla="*/ 6204517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586977 w 7456394"/>
              <a:gd name="connsiteY5" fmla="*/ 490472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310877 w 7456394"/>
              <a:gd name="connsiteY4" fmla="*/ 3675297 h 6236837"/>
              <a:gd name="connsiteX5" fmla="*/ 4279200 w 7456394"/>
              <a:gd name="connsiteY5" fmla="*/ 485890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  <a:gd name="connsiteX0" fmla="*/ 24241 w 7456394"/>
              <a:gd name="connsiteY0" fmla="*/ 0 h 6236837"/>
              <a:gd name="connsiteX1" fmla="*/ 67364 w 7456394"/>
              <a:gd name="connsiteY1" fmla="*/ 0 h 6236837"/>
              <a:gd name="connsiteX2" fmla="*/ 295324 w 7456394"/>
              <a:gd name="connsiteY2" fmla="*/ 0 h 6236837"/>
              <a:gd name="connsiteX3" fmla="*/ 7456394 w 7456394"/>
              <a:gd name="connsiteY3" fmla="*/ 0 h 6236837"/>
              <a:gd name="connsiteX4" fmla="*/ 5136471 w 7456394"/>
              <a:gd name="connsiteY4" fmla="*/ 3547001 h 6236837"/>
              <a:gd name="connsiteX5" fmla="*/ 4279200 w 7456394"/>
              <a:gd name="connsiteY5" fmla="*/ 4858900 h 6236837"/>
              <a:gd name="connsiteX6" fmla="*/ 3383007 w 7456394"/>
              <a:gd name="connsiteY6" fmla="*/ 6213682 h 6236837"/>
              <a:gd name="connsiteX7" fmla="*/ 15097 w 7456394"/>
              <a:gd name="connsiteY7" fmla="*/ 6236810 h 6236837"/>
              <a:gd name="connsiteX8" fmla="*/ 24241 w 7456394"/>
              <a:gd name="connsiteY8" fmla="*/ 0 h 6236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56394" h="6236837">
                <a:moveTo>
                  <a:pt x="24241" y="0"/>
                </a:moveTo>
                <a:lnTo>
                  <a:pt x="67364" y="0"/>
                </a:lnTo>
                <a:lnTo>
                  <a:pt x="295324" y="0"/>
                </a:lnTo>
                <a:lnTo>
                  <a:pt x="7456394" y="0"/>
                </a:lnTo>
                <a:lnTo>
                  <a:pt x="5136471" y="3547001"/>
                </a:lnTo>
                <a:lnTo>
                  <a:pt x="4279200" y="4858900"/>
                </a:lnTo>
                <a:lnTo>
                  <a:pt x="3383007" y="6213682"/>
                </a:lnTo>
                <a:lnTo>
                  <a:pt x="15097" y="6236810"/>
                </a:lnTo>
                <a:cubicBezTo>
                  <a:pt x="-23568" y="6247574"/>
                  <a:pt x="24241" y="3113833"/>
                  <a:pt x="24241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0" tIns="68560" rIns="68560" bIns="685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24" dirty="0" err="1">
              <a:solidFill>
                <a:schemeClr val="tx1"/>
              </a:solidFill>
            </a:endParaRPr>
          </a:p>
        </p:txBody>
      </p:sp>
      <p:sp>
        <p:nvSpPr>
          <p:cNvPr id="2" name="PresentationTitle"/>
          <p:cNvSpPr>
            <a:spLocks noGrp="1"/>
          </p:cNvSpPr>
          <p:nvPr>
            <p:ph type="ctrTitle" hasCustomPrompt="1"/>
          </p:nvPr>
        </p:nvSpPr>
        <p:spPr>
          <a:xfrm>
            <a:off x="407574" y="1360799"/>
            <a:ext cx="4104000" cy="583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1714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573" y="2240048"/>
            <a:ext cx="4137533" cy="516601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24" cap="all" spc="476" baseline="0">
                <a:solidFill>
                  <a:srgbClr val="72BE44"/>
                </a:solidFill>
              </a:defRPr>
            </a:lvl1pPr>
            <a:lvl2pPr marL="4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2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7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Isosceles Triangle 23">
            <a:extLst>
              <a:ext uri="{FF2B5EF4-FFF2-40B4-BE49-F238E27FC236}">
                <a16:creationId xmlns:a16="http://schemas.microsoft.com/office/drawing/2014/main" id="{83C781BC-7CFB-EA42-BCEB-E004BAB52B3F}"/>
              </a:ext>
            </a:extLst>
          </p:cNvPr>
          <p:cNvSpPr/>
          <p:nvPr userDrawn="1"/>
        </p:nvSpPr>
        <p:spPr>
          <a:xfrm>
            <a:off x="2792193" y="4778784"/>
            <a:ext cx="1748443" cy="1507279"/>
          </a:xfrm>
          <a:prstGeom prst="triangle">
            <a:avLst/>
          </a:prstGeom>
          <a:solidFill>
            <a:srgbClr val="0D6CA5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6" name="Isosceles Triangle 11">
            <a:extLst>
              <a:ext uri="{FF2B5EF4-FFF2-40B4-BE49-F238E27FC236}">
                <a16:creationId xmlns:a16="http://schemas.microsoft.com/office/drawing/2014/main" id="{4B920F49-4FB5-594D-8844-494E0C770865}"/>
              </a:ext>
            </a:extLst>
          </p:cNvPr>
          <p:cNvSpPr/>
          <p:nvPr userDrawn="1"/>
        </p:nvSpPr>
        <p:spPr>
          <a:xfrm>
            <a:off x="3667792" y="3232456"/>
            <a:ext cx="1793737" cy="1546324"/>
          </a:xfrm>
          <a:prstGeom prst="triangle">
            <a:avLst/>
          </a:prstGeom>
          <a:solidFill>
            <a:srgbClr val="1297BB"/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7" name="Isosceles Triangle 24">
            <a:extLst>
              <a:ext uri="{FF2B5EF4-FFF2-40B4-BE49-F238E27FC236}">
                <a16:creationId xmlns:a16="http://schemas.microsoft.com/office/drawing/2014/main" id="{D9BFDCAE-EC7D-B74C-BDF8-5BD9ACA08527}"/>
              </a:ext>
            </a:extLst>
          </p:cNvPr>
          <p:cNvSpPr/>
          <p:nvPr userDrawn="1"/>
        </p:nvSpPr>
        <p:spPr>
          <a:xfrm rot="10800000">
            <a:off x="4616102" y="0"/>
            <a:ext cx="1793737" cy="15463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algn="ctr"/>
            <a:endParaRPr lang="en-US" sz="1333" dirty="0">
              <a:solidFill>
                <a:srgbClr val="FF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6269F3-5667-0648-9E0B-8C77608548CB}"/>
              </a:ext>
            </a:extLst>
          </p:cNvPr>
          <p:cNvSpPr/>
          <p:nvPr userDrawn="1"/>
        </p:nvSpPr>
        <p:spPr>
          <a:xfrm>
            <a:off x="-24240" y="6141357"/>
            <a:ext cx="9627028" cy="7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4" dirty="0">
              <a:effectLst/>
            </a:endParaRP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380FD42E-C407-F247-B9E9-D9A4BC8F4EE0}"/>
              </a:ext>
            </a:extLst>
          </p:cNvPr>
          <p:cNvSpPr txBox="1">
            <a:spLocks/>
          </p:cNvSpPr>
          <p:nvPr userDrawn="1"/>
        </p:nvSpPr>
        <p:spPr>
          <a:xfrm>
            <a:off x="407574" y="382760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952" b="1" kern="0" spc="286" dirty="0">
                <a:solidFill>
                  <a:schemeClr val="bg1">
                    <a:lumMod val="75000"/>
                  </a:schemeClr>
                </a:solidFill>
              </a:rPr>
              <a:t>HEALTH WEALTH</a:t>
            </a:r>
            <a:r>
              <a:rPr lang="en-GB" sz="952" b="1" kern="0" spc="286" baseline="0" dirty="0">
                <a:solidFill>
                  <a:schemeClr val="bg1">
                    <a:lumMod val="75000"/>
                  </a:schemeClr>
                </a:solidFill>
              </a:rPr>
              <a:t> CAREER</a:t>
            </a:r>
            <a:endParaRPr lang="en-US" sz="952" b="1" kern="0" spc="286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id="{4C8DE57F-F30F-4697-9433-7D8CE219AF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60" y="6277762"/>
            <a:ext cx="2254067" cy="4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845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pphire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5CF984DA-2A5C-1E49-A934-7EAC6F0175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594" y="1278000"/>
            <a:ext cx="8788969" cy="4788118"/>
          </a:xfrm>
        </p:spPr>
        <p:txBody>
          <a:bodyPr/>
          <a:lstStyle>
            <a:lvl1pPr>
              <a:spcBef>
                <a:spcPts val="1269"/>
              </a:spcBef>
              <a:buClr>
                <a:srgbClr val="00A8C8"/>
              </a:buClr>
              <a:defRPr/>
            </a:lvl1pPr>
            <a:lvl2pPr>
              <a:spcBef>
                <a:spcPts val="453"/>
              </a:spcBef>
              <a:buClr>
                <a:srgbClr val="00A8C8"/>
              </a:buClr>
              <a:defRPr/>
            </a:lvl2pPr>
            <a:lvl3pPr>
              <a:spcBef>
                <a:spcPts val="453"/>
              </a:spcBef>
              <a:buClr>
                <a:srgbClr val="00A8C8"/>
              </a:buClr>
              <a:defRPr/>
            </a:lvl3pPr>
            <a:lvl4pPr>
              <a:spcBef>
                <a:spcPts val="453"/>
              </a:spcBef>
              <a:buClr>
                <a:srgbClr val="00A8C8"/>
              </a:buClr>
              <a:defRPr/>
            </a:lvl4pPr>
            <a:lvl5pPr>
              <a:spcBef>
                <a:spcPts val="453"/>
              </a:spcBef>
              <a:buClr>
                <a:srgbClr val="00A8C8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00054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https://info.mercer.com/rs/521-DEV-513/images/131994105-tier-3-marketo-banner.jpg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9359"/>
          <a:stretch/>
        </p:blipFill>
        <p:spPr bwMode="auto">
          <a:xfrm>
            <a:off x="-10466" y="-20827"/>
            <a:ext cx="6157284" cy="614642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Isosceles Triangle 16"/>
          <p:cNvSpPr/>
          <p:nvPr userDrawn="1"/>
        </p:nvSpPr>
        <p:spPr>
          <a:xfrm>
            <a:off x="4334119" y="3657013"/>
            <a:ext cx="1122895" cy="1240699"/>
          </a:xfrm>
          <a:prstGeom prst="triangle">
            <a:avLst/>
          </a:prstGeom>
          <a:solidFill>
            <a:srgbClr val="15A0C9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>
          <a:xfrm rot="10800000">
            <a:off x="4334119" y="4897712"/>
            <a:ext cx="1122895" cy="1240699"/>
          </a:xfrm>
          <a:prstGeom prst="triangle">
            <a:avLst/>
          </a:prstGeom>
          <a:solidFill>
            <a:srgbClr val="76C9DF">
              <a:alpha val="75000"/>
            </a:srgb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6" name="Isosceles Triangle 25"/>
          <p:cNvSpPr/>
          <p:nvPr userDrawn="1"/>
        </p:nvSpPr>
        <p:spPr>
          <a:xfrm rot="10800000">
            <a:off x="6549961" y="1"/>
            <a:ext cx="1122895" cy="1240699"/>
          </a:xfrm>
          <a:prstGeom prst="triangle">
            <a:avLst/>
          </a:prstGeom>
          <a:solidFill>
            <a:schemeClr val="accent1">
              <a:alpha val="7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8" name="Isosceles Triangle 27"/>
          <p:cNvSpPr/>
          <p:nvPr userDrawn="1"/>
        </p:nvSpPr>
        <p:spPr>
          <a:xfrm rot="10800000">
            <a:off x="8479899" y="3585412"/>
            <a:ext cx="1122895" cy="1240699"/>
          </a:xfrm>
          <a:prstGeom prst="triangle">
            <a:avLst/>
          </a:prstGeom>
          <a:solidFill>
            <a:srgbClr val="D9D9D9">
              <a:alpha val="75000"/>
            </a:srgb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0" y="6125594"/>
            <a:ext cx="9602788" cy="7324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3539" tIns="41768" rIns="83539" bIns="41768" rtlCol="0" anchor="ctr"/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826" dirty="0">
              <a:solidFill>
                <a:prstClr val="white"/>
              </a:solidFill>
            </a:endParaRPr>
          </a:p>
        </p:txBody>
      </p:sp>
      <p:sp>
        <p:nvSpPr>
          <p:cNvPr id="27" name="Title Placeholder 1"/>
          <p:cNvSpPr txBox="1">
            <a:spLocks/>
          </p:cNvSpPr>
          <p:nvPr userDrawn="1"/>
        </p:nvSpPr>
        <p:spPr>
          <a:xfrm>
            <a:off x="381781" y="382763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fontAlgn="base">
              <a:lnSpc>
                <a:spcPct val="86000"/>
              </a:lnSpc>
              <a:spcAft>
                <a:spcPct val="0"/>
              </a:spcAft>
            </a:pPr>
            <a:r>
              <a:rPr lang="en-GB" sz="952" kern="0" spc="275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t>HEALTH WEALTH CAREER</a:t>
            </a:r>
            <a:endParaRPr lang="en-US" sz="952" kern="0" spc="275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  <p:pic>
        <p:nvPicPr>
          <p:cNvPr id="35" name="Picture 34" descr="MTT_Horizontal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19" y="6432831"/>
            <a:ext cx="3067526" cy="129855"/>
          </a:xfrm>
          <a:prstGeom prst="rect">
            <a:avLst/>
          </a:prstGeom>
        </p:spPr>
      </p:pic>
      <p:pic>
        <p:nvPicPr>
          <p:cNvPr id="16" name="Picture 15" descr="https://info.mercer.com/rs/521-DEV-513/images/131994105-tier-3-marketo-banner.jpg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4306" y="-20827"/>
            <a:ext cx="5661002" cy="6138410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Title 1"/>
          <p:cNvSpPr>
            <a:spLocks noGrp="1"/>
          </p:cNvSpPr>
          <p:nvPr userDrawn="1">
            <p:ph type="ctrTitle"/>
          </p:nvPr>
        </p:nvSpPr>
        <p:spPr>
          <a:xfrm>
            <a:off x="381778" y="1327153"/>
            <a:ext cx="4103616" cy="582290"/>
          </a:xfrm>
        </p:spPr>
        <p:txBody>
          <a:bodyPr anchor="t"/>
          <a:lstStyle>
            <a:lvl1pPr>
              <a:defRPr sz="1826" spc="365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9" name="Subtitle 2"/>
          <p:cNvSpPr>
            <a:spLocks noGrp="1"/>
          </p:cNvSpPr>
          <p:nvPr userDrawn="1">
            <p:ph type="subTitle" idx="1"/>
          </p:nvPr>
        </p:nvSpPr>
        <p:spPr>
          <a:xfrm>
            <a:off x="381779" y="2059070"/>
            <a:ext cx="4103614" cy="581890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26" cap="all" spc="27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3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88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06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23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4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0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381778" y="2832817"/>
            <a:ext cx="3089332" cy="3651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32">
                <a:latin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5051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47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Placeholder 1"/>
          <p:cNvSpPr txBox="1">
            <a:spLocks/>
          </p:cNvSpPr>
          <p:nvPr userDrawn="1"/>
        </p:nvSpPr>
        <p:spPr>
          <a:xfrm>
            <a:off x="381781" y="382763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fontAlgn="base">
              <a:lnSpc>
                <a:spcPct val="86000"/>
              </a:lnSpc>
              <a:spcAft>
                <a:spcPct val="0"/>
              </a:spcAft>
            </a:pPr>
            <a:r>
              <a:rPr lang="en-GB" sz="952" kern="0" spc="275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t>HEALTH WEALTH CAREER</a:t>
            </a:r>
            <a:endParaRPr lang="en-US" sz="952" kern="0" spc="275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6141357"/>
            <a:ext cx="9602788" cy="7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3539" tIns="41768" rIns="83539" bIns="41768" rtlCol="0" anchor="ctr"/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826" dirty="0">
              <a:solidFill>
                <a:prstClr val="white"/>
              </a:solidFill>
            </a:endParaRPr>
          </a:p>
        </p:txBody>
      </p:sp>
      <p:pic>
        <p:nvPicPr>
          <p:cNvPr id="22" name="Picture 21" descr="MTT_Horizontal.pn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19" y="6432831"/>
            <a:ext cx="3067526" cy="129855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ctrTitle"/>
          </p:nvPr>
        </p:nvSpPr>
        <p:spPr>
          <a:xfrm>
            <a:off x="381778" y="1327153"/>
            <a:ext cx="4103616" cy="582290"/>
          </a:xfrm>
        </p:spPr>
        <p:txBody>
          <a:bodyPr anchor="t"/>
          <a:lstStyle>
            <a:lvl1pPr>
              <a:defRPr sz="1826" spc="365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>
          <a:xfrm>
            <a:off x="381779" y="2059070"/>
            <a:ext cx="4103614" cy="581890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26" cap="all" spc="27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3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88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06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23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4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8" name="Date Placeholder 3"/>
          <p:cNvSpPr>
            <a:spLocks noGrp="1"/>
          </p:cNvSpPr>
          <p:nvPr>
            <p:ph type="dt" sz="half" idx="10"/>
          </p:nvPr>
        </p:nvSpPr>
        <p:spPr>
          <a:xfrm>
            <a:off x="381778" y="2832817"/>
            <a:ext cx="3089332" cy="3651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32">
                <a:latin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505153"/>
              </a:solidFill>
            </a:endParaRPr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3387305" y="-27100"/>
            <a:ext cx="6215484" cy="6168458"/>
            <a:chOff x="2140756" y="-20320"/>
            <a:chExt cx="7882699" cy="6161677"/>
          </a:xfrm>
        </p:grpSpPr>
        <p:sp>
          <p:nvSpPr>
            <p:cNvPr id="31" name="Isosceles Triangle 30"/>
            <p:cNvSpPr/>
            <p:nvPr userDrawn="1"/>
          </p:nvSpPr>
          <p:spPr>
            <a:xfrm>
              <a:off x="2857365" y="4905824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2" name="Isosceles Triangle 31"/>
            <p:cNvSpPr/>
            <p:nvPr userDrawn="1"/>
          </p:nvSpPr>
          <p:spPr>
            <a:xfrm>
              <a:off x="5723801" y="4905824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4" name="Isosceles Triangle 33"/>
            <p:cNvSpPr/>
            <p:nvPr userDrawn="1"/>
          </p:nvSpPr>
          <p:spPr>
            <a:xfrm>
              <a:off x="5723801" y="2447467"/>
              <a:ext cx="1433218" cy="1235533"/>
            </a:xfrm>
            <a:prstGeom prst="triangle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5" name="Isosceles Triangle 34"/>
            <p:cNvSpPr/>
            <p:nvPr userDrawn="1"/>
          </p:nvSpPr>
          <p:spPr>
            <a:xfrm>
              <a:off x="7157019" y="2449286"/>
              <a:ext cx="1433218" cy="1235533"/>
            </a:xfrm>
            <a:prstGeom prst="triangle">
              <a:avLst/>
            </a:prstGeom>
            <a:solidFill>
              <a:srgbClr val="97DBEB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6" name="Isosceles Triangle 35"/>
            <p:cNvSpPr/>
            <p:nvPr userDrawn="1"/>
          </p:nvSpPr>
          <p:spPr>
            <a:xfrm rot="10800000">
              <a:off x="2140756" y="4905824"/>
              <a:ext cx="1433218" cy="1235533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7" name="Isosceles Triangle 36"/>
            <p:cNvSpPr/>
            <p:nvPr userDrawn="1"/>
          </p:nvSpPr>
          <p:spPr>
            <a:xfrm rot="10800000">
              <a:off x="6440410" y="4905824"/>
              <a:ext cx="1433218" cy="1235533"/>
            </a:xfrm>
            <a:prstGeom prst="triangle">
              <a:avLst/>
            </a:prstGeom>
            <a:solidFill>
              <a:srgbClr val="97DBE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8" name="Isosceles Triangle 37"/>
            <p:cNvSpPr/>
            <p:nvPr userDrawn="1"/>
          </p:nvSpPr>
          <p:spPr>
            <a:xfrm rot="10800000">
              <a:off x="4290583" y="3681181"/>
              <a:ext cx="1433218" cy="1235533"/>
            </a:xfrm>
            <a:prstGeom prst="triangle">
              <a:avLst/>
            </a:prstGeom>
            <a:solidFill>
              <a:srgbClr val="97DBE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9" name="Isosceles Triangle 38"/>
            <p:cNvSpPr/>
            <p:nvPr userDrawn="1"/>
          </p:nvSpPr>
          <p:spPr>
            <a:xfrm rot="10800000">
              <a:off x="7157019" y="3681181"/>
              <a:ext cx="1433218" cy="1235533"/>
            </a:xfrm>
            <a:prstGeom prst="triangle">
              <a:avLst/>
            </a:prstGeom>
            <a:solidFill>
              <a:srgbClr val="D9D9D9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0" name="Isosceles Triangle 39"/>
            <p:cNvSpPr/>
            <p:nvPr userDrawn="1"/>
          </p:nvSpPr>
          <p:spPr>
            <a:xfrm rot="10800000">
              <a:off x="8590237" y="3681181"/>
              <a:ext cx="1433218" cy="1235533"/>
            </a:xfrm>
            <a:prstGeom prst="triangle">
              <a:avLst/>
            </a:prstGeom>
            <a:solidFill>
              <a:srgbClr val="76C9DF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1" name="Isosceles Triangle 40"/>
            <p:cNvSpPr/>
            <p:nvPr userDrawn="1"/>
          </p:nvSpPr>
          <p:spPr>
            <a:xfrm>
              <a:off x="5723801" y="2447467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2" name="Isosceles Triangle 41"/>
            <p:cNvSpPr/>
            <p:nvPr userDrawn="1"/>
          </p:nvSpPr>
          <p:spPr>
            <a:xfrm rot="10800000">
              <a:off x="7873628" y="2447467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3" name="Isosceles Triangle 42"/>
            <p:cNvSpPr/>
            <p:nvPr userDrawn="1"/>
          </p:nvSpPr>
          <p:spPr>
            <a:xfrm>
              <a:off x="7873628" y="1213753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4" name="Isosceles Triangle 43"/>
            <p:cNvSpPr/>
            <p:nvPr userDrawn="1"/>
          </p:nvSpPr>
          <p:spPr>
            <a:xfrm>
              <a:off x="6440410" y="1213753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5" name="Isosceles Triangle 44"/>
            <p:cNvSpPr/>
            <p:nvPr userDrawn="1"/>
          </p:nvSpPr>
          <p:spPr>
            <a:xfrm rot="10800000">
              <a:off x="8590237" y="1213753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6" name="Isosceles Triangle 45"/>
            <p:cNvSpPr/>
            <p:nvPr userDrawn="1"/>
          </p:nvSpPr>
          <p:spPr>
            <a:xfrm rot="10800000">
              <a:off x="6440410" y="0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7" name="Isosceles Triangle 46"/>
            <p:cNvSpPr/>
            <p:nvPr userDrawn="1"/>
          </p:nvSpPr>
          <p:spPr>
            <a:xfrm>
              <a:off x="7163697" y="-20320"/>
              <a:ext cx="1433218" cy="1235533"/>
            </a:xfrm>
            <a:prstGeom prst="triangle">
              <a:avLst/>
            </a:prstGeom>
            <a:solidFill>
              <a:srgbClr val="D9D9D9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9" name="Isosceles Triangle 48"/>
            <p:cNvSpPr/>
            <p:nvPr userDrawn="1"/>
          </p:nvSpPr>
          <p:spPr>
            <a:xfrm rot="10800000">
              <a:off x="7873628" y="0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27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aph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 bwMode="auto">
          <a:xfrm>
            <a:off x="381779" y="6381750"/>
            <a:ext cx="8832564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Content Placeholder 4"/>
          <p:cNvSpPr>
            <a:spLocks noGrp="1"/>
          </p:cNvSpPr>
          <p:nvPr>
            <p:ph sz="quarter" idx="10"/>
          </p:nvPr>
        </p:nvSpPr>
        <p:spPr>
          <a:xfrm>
            <a:off x="381782" y="1441450"/>
            <a:ext cx="8832564" cy="4800600"/>
          </a:xfrm>
        </p:spPr>
        <p:txBody>
          <a:bodyPr/>
          <a:lstStyle>
            <a:lvl1pPr marL="162430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0658" indent="-168231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93086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55514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99159" indent="-243643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1779" y="362804"/>
            <a:ext cx="8832564" cy="6241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1"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3691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2" b="0" cap="all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25132A8F-85D0-C345-9BCA-9612AAF187E7}" type="slidenum">
              <a:rPr lang="en-US" smtClean="0"/>
              <a:pPr defTabSz="962489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381778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793315" rtl="0" eaLnBrk="1" latinLnBrk="0" hangingPunct="1">
              <a:defRPr sz="800" b="0" kern="1200" cap="all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96657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3315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9972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663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328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994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7660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258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35" dirty="0">
                <a:solidFill>
                  <a:schemeClr val="bg1">
                    <a:lumMod val="50000"/>
                  </a:schemeClr>
                </a:solidFill>
              </a:rPr>
              <a:t>© Mercer 201</a:t>
            </a:r>
            <a:r>
              <a:rPr lang="pl-PL" sz="635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635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71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apphi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407596" y="6271773"/>
            <a:ext cx="87876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0819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apphire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1279"/>
              </a:spcBef>
              <a:buNone/>
              <a:defRPr/>
            </a:lvl1pPr>
            <a:lvl2pPr marL="255401" indent="-255401">
              <a:spcBef>
                <a:spcPts val="457"/>
              </a:spcBef>
              <a:buFont typeface="Arial" panose="020B0604020202020204" pitchFamily="34" charset="0"/>
              <a:buChar char="•"/>
              <a:defRPr/>
            </a:lvl2pPr>
            <a:lvl3pPr marL="489035" indent="-213318">
              <a:spcBef>
                <a:spcPts val="457"/>
              </a:spcBef>
              <a:buFont typeface="Arial" panose="020B0604020202020204" pitchFamily="34" charset="0"/>
              <a:buChar char="–"/>
              <a:defRPr/>
            </a:lvl3pPr>
            <a:lvl4pPr marL="654465" indent="-165430">
              <a:spcBef>
                <a:spcPts val="457"/>
              </a:spcBef>
              <a:defRPr/>
            </a:lvl4pPr>
            <a:lvl5pPr marL="819894" indent="-165430">
              <a:spcBef>
                <a:spcPts val="45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Number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91564" y="6483353"/>
            <a:ext cx="447675" cy="15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defRPr sz="1032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805E4EE5-1F42-4C05-A6F6-6FA1E0C72A77}" type="slidenum">
              <a:rPr lang="en-GB" altLang="en-US" smtClean="0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11624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https://info.mercer.com/rs/521-DEV-513/images/131994105-tier-3-marketo-banner.jpg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9359"/>
          <a:stretch/>
        </p:blipFill>
        <p:spPr bwMode="auto">
          <a:xfrm>
            <a:off x="-10466" y="-20827"/>
            <a:ext cx="6157284" cy="614642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Isosceles Triangle 16"/>
          <p:cNvSpPr/>
          <p:nvPr userDrawn="1"/>
        </p:nvSpPr>
        <p:spPr>
          <a:xfrm>
            <a:off x="4334119" y="3657013"/>
            <a:ext cx="1122895" cy="1240699"/>
          </a:xfrm>
          <a:prstGeom prst="triangle">
            <a:avLst/>
          </a:prstGeom>
          <a:solidFill>
            <a:srgbClr val="15A0C9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>
          <a:xfrm rot="10800000">
            <a:off x="4334119" y="4897712"/>
            <a:ext cx="1122895" cy="1240699"/>
          </a:xfrm>
          <a:prstGeom prst="triangle">
            <a:avLst/>
          </a:prstGeom>
          <a:solidFill>
            <a:srgbClr val="76C9DF">
              <a:alpha val="75000"/>
            </a:srgb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6" name="Isosceles Triangle 25"/>
          <p:cNvSpPr/>
          <p:nvPr userDrawn="1"/>
        </p:nvSpPr>
        <p:spPr>
          <a:xfrm rot="10800000">
            <a:off x="6549961" y="1"/>
            <a:ext cx="1122895" cy="1240699"/>
          </a:xfrm>
          <a:prstGeom prst="triangle">
            <a:avLst/>
          </a:prstGeom>
          <a:solidFill>
            <a:schemeClr val="accent1">
              <a:alpha val="75000"/>
            </a:scheme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8" name="Isosceles Triangle 27"/>
          <p:cNvSpPr/>
          <p:nvPr userDrawn="1"/>
        </p:nvSpPr>
        <p:spPr>
          <a:xfrm rot="10800000">
            <a:off x="8479899" y="3585412"/>
            <a:ext cx="1122895" cy="1240699"/>
          </a:xfrm>
          <a:prstGeom prst="triangle">
            <a:avLst/>
          </a:prstGeom>
          <a:solidFill>
            <a:srgbClr val="D9D9D9">
              <a:alpha val="75000"/>
            </a:srgbClr>
          </a:solidFill>
          <a:ln w="12700" cmpd="sng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270" dirty="0">
              <a:solidFill>
                <a:srgbClr val="FF0000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0" y="6125594"/>
            <a:ext cx="9602788" cy="7324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3539" tIns="41768" rIns="83539" bIns="41768" rtlCol="0" anchor="ctr"/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826" dirty="0">
              <a:solidFill>
                <a:prstClr val="white"/>
              </a:solidFill>
            </a:endParaRPr>
          </a:p>
        </p:txBody>
      </p:sp>
      <p:sp>
        <p:nvSpPr>
          <p:cNvPr id="27" name="Title Placeholder 1"/>
          <p:cNvSpPr txBox="1">
            <a:spLocks/>
          </p:cNvSpPr>
          <p:nvPr userDrawn="1"/>
        </p:nvSpPr>
        <p:spPr>
          <a:xfrm>
            <a:off x="381781" y="382763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fontAlgn="base">
              <a:lnSpc>
                <a:spcPct val="86000"/>
              </a:lnSpc>
              <a:spcAft>
                <a:spcPct val="0"/>
              </a:spcAft>
            </a:pPr>
            <a:r>
              <a:rPr lang="en-GB" sz="952" kern="0" spc="275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t>HEALTH WEALTH CAREER</a:t>
            </a:r>
            <a:endParaRPr lang="en-US" sz="952" kern="0" spc="275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  <p:pic>
        <p:nvPicPr>
          <p:cNvPr id="35" name="Picture 34" descr="MTT_Horizontal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19" y="6432831"/>
            <a:ext cx="3067526" cy="129855"/>
          </a:xfrm>
          <a:prstGeom prst="rect">
            <a:avLst/>
          </a:prstGeom>
        </p:spPr>
      </p:pic>
      <p:pic>
        <p:nvPicPr>
          <p:cNvPr id="16" name="Picture 15" descr="https://info.mercer.com/rs/521-DEV-513/images/131994105-tier-3-marketo-banner.jpg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4306" y="-20827"/>
            <a:ext cx="5661002" cy="6138410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Title 1"/>
          <p:cNvSpPr>
            <a:spLocks noGrp="1"/>
          </p:cNvSpPr>
          <p:nvPr userDrawn="1">
            <p:ph type="ctrTitle"/>
          </p:nvPr>
        </p:nvSpPr>
        <p:spPr>
          <a:xfrm>
            <a:off x="381778" y="1327153"/>
            <a:ext cx="4103616" cy="582290"/>
          </a:xfrm>
        </p:spPr>
        <p:txBody>
          <a:bodyPr anchor="t"/>
          <a:lstStyle>
            <a:lvl1pPr>
              <a:defRPr sz="1826" spc="365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9" name="Subtitle 2"/>
          <p:cNvSpPr>
            <a:spLocks noGrp="1"/>
          </p:cNvSpPr>
          <p:nvPr userDrawn="1">
            <p:ph type="subTitle" idx="1"/>
          </p:nvPr>
        </p:nvSpPr>
        <p:spPr>
          <a:xfrm>
            <a:off x="381779" y="2059070"/>
            <a:ext cx="4103614" cy="581890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26" cap="all" spc="27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3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88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06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23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4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0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381778" y="2832817"/>
            <a:ext cx="3089332" cy="3651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32">
                <a:latin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5051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9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0" y="1308100"/>
            <a:ext cx="8785225" cy="596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/>
            </a:lvl1pPr>
            <a:lvl2pPr marL="226800" indent="0">
              <a:buNone/>
              <a:defRPr/>
            </a:lvl2pPr>
            <a:lvl3pPr marL="511200" indent="0">
              <a:buNone/>
              <a:defRPr/>
            </a:lvl3pPr>
            <a:lvl4pPr marL="687600" indent="0">
              <a:buNone/>
              <a:defRPr/>
            </a:lvl4pPr>
            <a:lvl5pPr marL="867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12750" y="2176780"/>
            <a:ext cx="8785225" cy="3896995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8162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Placeholder 1"/>
          <p:cNvSpPr txBox="1">
            <a:spLocks/>
          </p:cNvSpPr>
          <p:nvPr userDrawn="1"/>
        </p:nvSpPr>
        <p:spPr>
          <a:xfrm>
            <a:off x="381781" y="382763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fontAlgn="base">
              <a:lnSpc>
                <a:spcPct val="86000"/>
              </a:lnSpc>
              <a:spcAft>
                <a:spcPct val="0"/>
              </a:spcAft>
            </a:pPr>
            <a:r>
              <a:rPr lang="en-GB" sz="952" kern="0" spc="275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t>HEALTH WEALTH CAREER</a:t>
            </a:r>
            <a:endParaRPr lang="en-US" sz="952" kern="0" spc="275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6141357"/>
            <a:ext cx="9602788" cy="7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3539" tIns="41768" rIns="83539" bIns="41768" rtlCol="0" anchor="ctr"/>
          <a:lstStyle/>
          <a:p>
            <a:pPr algn="ctr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sz="1826" dirty="0">
              <a:solidFill>
                <a:prstClr val="white"/>
              </a:solidFill>
            </a:endParaRPr>
          </a:p>
        </p:txBody>
      </p:sp>
      <p:pic>
        <p:nvPicPr>
          <p:cNvPr id="22" name="Picture 21" descr="MTT_Horizontal.pn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19" y="6432831"/>
            <a:ext cx="3067526" cy="129855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ctrTitle"/>
          </p:nvPr>
        </p:nvSpPr>
        <p:spPr>
          <a:xfrm>
            <a:off x="381778" y="1327153"/>
            <a:ext cx="4103616" cy="582290"/>
          </a:xfrm>
        </p:spPr>
        <p:txBody>
          <a:bodyPr anchor="t"/>
          <a:lstStyle>
            <a:lvl1pPr>
              <a:defRPr sz="1826" spc="365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>
          <a:xfrm>
            <a:off x="381779" y="2059070"/>
            <a:ext cx="4103614" cy="581890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26" cap="all" spc="27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3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88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06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23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4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8" name="Date Placeholder 3"/>
          <p:cNvSpPr>
            <a:spLocks noGrp="1"/>
          </p:cNvSpPr>
          <p:nvPr>
            <p:ph type="dt" sz="half" idx="10"/>
          </p:nvPr>
        </p:nvSpPr>
        <p:spPr>
          <a:xfrm>
            <a:off x="381778" y="2832817"/>
            <a:ext cx="3089332" cy="3651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32">
                <a:latin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505153"/>
              </a:solidFill>
            </a:endParaRPr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3387305" y="-27100"/>
            <a:ext cx="6215484" cy="6168458"/>
            <a:chOff x="2140756" y="-20320"/>
            <a:chExt cx="7882699" cy="6161677"/>
          </a:xfrm>
        </p:grpSpPr>
        <p:sp>
          <p:nvSpPr>
            <p:cNvPr id="31" name="Isosceles Triangle 30"/>
            <p:cNvSpPr/>
            <p:nvPr userDrawn="1"/>
          </p:nvSpPr>
          <p:spPr>
            <a:xfrm>
              <a:off x="2857365" y="4905824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2" name="Isosceles Triangle 31"/>
            <p:cNvSpPr/>
            <p:nvPr userDrawn="1"/>
          </p:nvSpPr>
          <p:spPr>
            <a:xfrm>
              <a:off x="5723801" y="4905824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4" name="Isosceles Triangle 33"/>
            <p:cNvSpPr/>
            <p:nvPr userDrawn="1"/>
          </p:nvSpPr>
          <p:spPr>
            <a:xfrm>
              <a:off x="5723801" y="2447467"/>
              <a:ext cx="1433218" cy="1235533"/>
            </a:xfrm>
            <a:prstGeom prst="triangle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5" name="Isosceles Triangle 34"/>
            <p:cNvSpPr/>
            <p:nvPr userDrawn="1"/>
          </p:nvSpPr>
          <p:spPr>
            <a:xfrm>
              <a:off x="7157019" y="2449286"/>
              <a:ext cx="1433218" cy="1235533"/>
            </a:xfrm>
            <a:prstGeom prst="triangle">
              <a:avLst/>
            </a:prstGeom>
            <a:solidFill>
              <a:srgbClr val="97DBEB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6" name="Isosceles Triangle 35"/>
            <p:cNvSpPr/>
            <p:nvPr userDrawn="1"/>
          </p:nvSpPr>
          <p:spPr>
            <a:xfrm rot="10800000">
              <a:off x="2140756" y="4905824"/>
              <a:ext cx="1433218" cy="1235533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7" name="Isosceles Triangle 36"/>
            <p:cNvSpPr/>
            <p:nvPr userDrawn="1"/>
          </p:nvSpPr>
          <p:spPr>
            <a:xfrm rot="10800000">
              <a:off x="6440410" y="4905824"/>
              <a:ext cx="1433218" cy="1235533"/>
            </a:xfrm>
            <a:prstGeom prst="triangle">
              <a:avLst/>
            </a:prstGeom>
            <a:solidFill>
              <a:srgbClr val="97DBE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8" name="Isosceles Triangle 37"/>
            <p:cNvSpPr/>
            <p:nvPr userDrawn="1"/>
          </p:nvSpPr>
          <p:spPr>
            <a:xfrm rot="10800000">
              <a:off x="4290583" y="3681181"/>
              <a:ext cx="1433218" cy="1235533"/>
            </a:xfrm>
            <a:prstGeom prst="triangle">
              <a:avLst/>
            </a:prstGeom>
            <a:solidFill>
              <a:srgbClr val="97DBE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39" name="Isosceles Triangle 38"/>
            <p:cNvSpPr/>
            <p:nvPr userDrawn="1"/>
          </p:nvSpPr>
          <p:spPr>
            <a:xfrm rot="10800000">
              <a:off x="7157019" y="3681181"/>
              <a:ext cx="1433218" cy="1235533"/>
            </a:xfrm>
            <a:prstGeom prst="triangle">
              <a:avLst/>
            </a:prstGeom>
            <a:solidFill>
              <a:srgbClr val="D9D9D9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0" name="Isosceles Triangle 39"/>
            <p:cNvSpPr/>
            <p:nvPr userDrawn="1"/>
          </p:nvSpPr>
          <p:spPr>
            <a:xfrm rot="10800000">
              <a:off x="8590237" y="3681181"/>
              <a:ext cx="1433218" cy="1235533"/>
            </a:xfrm>
            <a:prstGeom prst="triangle">
              <a:avLst/>
            </a:prstGeom>
            <a:solidFill>
              <a:srgbClr val="76C9DF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1" name="Isosceles Triangle 40"/>
            <p:cNvSpPr/>
            <p:nvPr userDrawn="1"/>
          </p:nvSpPr>
          <p:spPr>
            <a:xfrm>
              <a:off x="5723801" y="2447467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2" name="Isosceles Triangle 41"/>
            <p:cNvSpPr/>
            <p:nvPr userDrawn="1"/>
          </p:nvSpPr>
          <p:spPr>
            <a:xfrm rot="10800000">
              <a:off x="7873628" y="2447467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3" name="Isosceles Triangle 42"/>
            <p:cNvSpPr/>
            <p:nvPr userDrawn="1"/>
          </p:nvSpPr>
          <p:spPr>
            <a:xfrm>
              <a:off x="7873628" y="1213753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4" name="Isosceles Triangle 43"/>
            <p:cNvSpPr/>
            <p:nvPr userDrawn="1"/>
          </p:nvSpPr>
          <p:spPr>
            <a:xfrm>
              <a:off x="6440410" y="1213753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5" name="Isosceles Triangle 44"/>
            <p:cNvSpPr/>
            <p:nvPr userDrawn="1"/>
          </p:nvSpPr>
          <p:spPr>
            <a:xfrm rot="10800000">
              <a:off x="8590237" y="1213753"/>
              <a:ext cx="1433218" cy="1235533"/>
            </a:xfrm>
            <a:prstGeom prst="triangle">
              <a:avLst/>
            </a:prstGeom>
            <a:solidFill>
              <a:srgbClr val="0A598C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6" name="Isosceles Triangle 45"/>
            <p:cNvSpPr/>
            <p:nvPr userDrawn="1"/>
          </p:nvSpPr>
          <p:spPr>
            <a:xfrm rot="10800000">
              <a:off x="6440410" y="0"/>
              <a:ext cx="1433218" cy="1235533"/>
            </a:xfrm>
            <a:prstGeom prst="triangle">
              <a:avLst/>
            </a:prstGeom>
            <a:solidFill>
              <a:srgbClr val="1297BB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7" name="Isosceles Triangle 46"/>
            <p:cNvSpPr/>
            <p:nvPr userDrawn="1"/>
          </p:nvSpPr>
          <p:spPr>
            <a:xfrm>
              <a:off x="7163697" y="-20320"/>
              <a:ext cx="1433218" cy="1235533"/>
            </a:xfrm>
            <a:prstGeom prst="triangle">
              <a:avLst/>
            </a:prstGeom>
            <a:solidFill>
              <a:srgbClr val="D9D9D9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  <p:sp>
          <p:nvSpPr>
            <p:cNvPr id="49" name="Isosceles Triangle 48"/>
            <p:cNvSpPr/>
            <p:nvPr userDrawn="1"/>
          </p:nvSpPr>
          <p:spPr>
            <a:xfrm rot="10800000">
              <a:off x="7873628" y="0"/>
              <a:ext cx="1433218" cy="1235533"/>
            </a:xfrm>
            <a:prstGeom prst="triangle">
              <a:avLst/>
            </a:prstGeom>
            <a:solidFill>
              <a:schemeClr val="bg1"/>
            </a:solidFill>
            <a:ln w="12700" cmpd="sng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algn="ctr"/>
              <a:endParaRPr lang="en-US" sz="1429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131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aph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 bwMode="auto">
          <a:xfrm>
            <a:off x="381779" y="6381750"/>
            <a:ext cx="8832564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Content Placeholder 4"/>
          <p:cNvSpPr>
            <a:spLocks noGrp="1"/>
          </p:cNvSpPr>
          <p:nvPr>
            <p:ph sz="quarter" idx="10"/>
          </p:nvPr>
        </p:nvSpPr>
        <p:spPr>
          <a:xfrm>
            <a:off x="381782" y="1441450"/>
            <a:ext cx="8832564" cy="4800600"/>
          </a:xfrm>
        </p:spPr>
        <p:txBody>
          <a:bodyPr/>
          <a:lstStyle>
            <a:lvl1pPr marL="162430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0658" indent="-168231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93086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55514" indent="-162430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99159" indent="-243643">
              <a:buClr>
                <a:schemeClr val="accent1"/>
              </a:buClr>
              <a:buFont typeface="Arial"/>
              <a:buChar char="•"/>
              <a:defRPr sz="142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1779" y="362804"/>
            <a:ext cx="8832564" cy="6241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1"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3691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2" b="0" cap="all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25132A8F-85D0-C345-9BCA-9612AAF187E7}" type="slidenum">
              <a:rPr lang="en-US" smtClean="0"/>
              <a:pPr defTabSz="962489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381778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793315" rtl="0" eaLnBrk="1" latinLnBrk="0" hangingPunct="1">
              <a:defRPr sz="800" b="0" kern="1200" cap="all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96657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3315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9972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663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328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994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7660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258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35" dirty="0">
                <a:solidFill>
                  <a:schemeClr val="bg1">
                    <a:lumMod val="50000"/>
                  </a:schemeClr>
                </a:solidFill>
              </a:rPr>
              <a:t>© Mercer 201</a:t>
            </a:r>
            <a:r>
              <a:rPr lang="pl-PL" sz="635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635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6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apphi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407596" y="6271773"/>
            <a:ext cx="87876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13153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apphire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1279"/>
              </a:spcBef>
              <a:buNone/>
              <a:defRPr/>
            </a:lvl1pPr>
            <a:lvl2pPr marL="255401" indent="-255401">
              <a:spcBef>
                <a:spcPts val="457"/>
              </a:spcBef>
              <a:buFont typeface="Arial" panose="020B0604020202020204" pitchFamily="34" charset="0"/>
              <a:buChar char="•"/>
              <a:defRPr/>
            </a:lvl2pPr>
            <a:lvl3pPr marL="489035" indent="-213318">
              <a:spcBef>
                <a:spcPts val="457"/>
              </a:spcBef>
              <a:buFont typeface="Arial" panose="020B0604020202020204" pitchFamily="34" charset="0"/>
              <a:buChar char="–"/>
              <a:defRPr/>
            </a:lvl3pPr>
            <a:lvl4pPr marL="654465" indent="-165430">
              <a:spcBef>
                <a:spcPts val="457"/>
              </a:spcBef>
              <a:defRPr/>
            </a:lvl4pPr>
            <a:lvl5pPr marL="819894" indent="-165430">
              <a:spcBef>
                <a:spcPts val="45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Number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91564" y="6483353"/>
            <a:ext cx="447675" cy="15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defRPr sz="1032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805E4EE5-1F42-4C05-A6F6-6FA1E0C72A77}" type="slidenum">
              <a:rPr lang="en-GB" altLang="en-US" smtClean="0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2248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209" y="1122363"/>
            <a:ext cx="8162370" cy="2387600"/>
          </a:xfrm>
        </p:spPr>
        <p:txBody>
          <a:bodyPr anchor="b"/>
          <a:lstStyle>
            <a:lvl1pPr algn="ctr">
              <a:defRPr sz="586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349" y="3602038"/>
            <a:ext cx="7202091" cy="1655762"/>
          </a:xfrm>
        </p:spPr>
        <p:txBody>
          <a:bodyPr/>
          <a:lstStyle>
            <a:lvl1pPr marL="0" indent="0" algn="ctr">
              <a:buNone/>
              <a:defRPr sz="2345"/>
            </a:lvl1pPr>
            <a:lvl2pPr marL="446639" indent="0" algn="ctr">
              <a:buNone/>
              <a:defRPr sz="1954"/>
            </a:lvl2pPr>
            <a:lvl3pPr marL="893277" indent="0" algn="ctr">
              <a:buNone/>
              <a:defRPr sz="1758"/>
            </a:lvl3pPr>
            <a:lvl4pPr marL="1339916" indent="0" algn="ctr">
              <a:buNone/>
              <a:defRPr sz="1563"/>
            </a:lvl4pPr>
            <a:lvl5pPr marL="1786555" indent="0" algn="ctr">
              <a:buNone/>
              <a:defRPr sz="1563"/>
            </a:lvl5pPr>
            <a:lvl6pPr marL="2233193" indent="0" algn="ctr">
              <a:buNone/>
              <a:defRPr sz="1563"/>
            </a:lvl6pPr>
            <a:lvl7pPr marL="2679832" indent="0" algn="ctr">
              <a:buNone/>
              <a:defRPr sz="1563"/>
            </a:lvl7pPr>
            <a:lvl8pPr marL="3126471" indent="0" algn="ctr">
              <a:buNone/>
              <a:defRPr sz="1563"/>
            </a:lvl8pPr>
            <a:lvl9pPr marL="3573109" indent="0" algn="ctr">
              <a:buNone/>
              <a:defRPr sz="156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E4F00-21BA-4030-8CB9-A1C2869507B5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6770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6F7C3-EC60-48AB-8502-C030435D161D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7867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191" y="1709740"/>
            <a:ext cx="8282405" cy="2852737"/>
          </a:xfrm>
        </p:spPr>
        <p:txBody>
          <a:bodyPr anchor="b"/>
          <a:lstStyle>
            <a:lvl1pPr>
              <a:defRPr sz="586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5191" y="4589465"/>
            <a:ext cx="8282405" cy="1500187"/>
          </a:xfrm>
        </p:spPr>
        <p:txBody>
          <a:bodyPr/>
          <a:lstStyle>
            <a:lvl1pPr marL="0" indent="0">
              <a:buNone/>
              <a:defRPr sz="2345">
                <a:solidFill>
                  <a:schemeClr val="tx1"/>
                </a:solidFill>
              </a:defRPr>
            </a:lvl1pPr>
            <a:lvl2pPr marL="446639" indent="0">
              <a:buNone/>
              <a:defRPr sz="1954">
                <a:solidFill>
                  <a:schemeClr val="tx1">
                    <a:tint val="75000"/>
                  </a:schemeClr>
                </a:solidFill>
              </a:defRPr>
            </a:lvl2pPr>
            <a:lvl3pPr marL="893277" indent="0">
              <a:buNone/>
              <a:defRPr sz="1758">
                <a:solidFill>
                  <a:schemeClr val="tx1">
                    <a:tint val="75000"/>
                  </a:schemeClr>
                </a:solidFill>
              </a:defRPr>
            </a:lvl3pPr>
            <a:lvl4pPr marL="1339916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4pPr>
            <a:lvl5pPr marL="1786555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5pPr>
            <a:lvl6pPr marL="2233193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6pPr>
            <a:lvl7pPr marL="2679832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7pPr>
            <a:lvl8pPr marL="3126471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8pPr>
            <a:lvl9pPr marL="3573109" indent="0">
              <a:buNone/>
              <a:defRPr sz="156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738B9-2773-4102-97F7-1364E5ED7FE6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454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192" y="1825625"/>
            <a:ext cx="408118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1411" y="1825625"/>
            <a:ext cx="408118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078B8-A96E-4454-979D-62A6B915ED07}" type="datetime1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0903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442" y="365127"/>
            <a:ext cx="828240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1443" y="1681163"/>
            <a:ext cx="4062429" cy="823912"/>
          </a:xfrm>
        </p:spPr>
        <p:txBody>
          <a:bodyPr anchor="b"/>
          <a:lstStyle>
            <a:lvl1pPr marL="0" indent="0">
              <a:buNone/>
              <a:defRPr sz="2345" b="1"/>
            </a:lvl1pPr>
            <a:lvl2pPr marL="446639" indent="0">
              <a:buNone/>
              <a:defRPr sz="1954" b="1"/>
            </a:lvl2pPr>
            <a:lvl3pPr marL="893277" indent="0">
              <a:buNone/>
              <a:defRPr sz="1758" b="1"/>
            </a:lvl3pPr>
            <a:lvl4pPr marL="1339916" indent="0">
              <a:buNone/>
              <a:defRPr sz="1563" b="1"/>
            </a:lvl4pPr>
            <a:lvl5pPr marL="1786555" indent="0">
              <a:buNone/>
              <a:defRPr sz="1563" b="1"/>
            </a:lvl5pPr>
            <a:lvl6pPr marL="2233193" indent="0">
              <a:buNone/>
              <a:defRPr sz="1563" b="1"/>
            </a:lvl6pPr>
            <a:lvl7pPr marL="2679832" indent="0">
              <a:buNone/>
              <a:defRPr sz="1563" b="1"/>
            </a:lvl7pPr>
            <a:lvl8pPr marL="3126471" indent="0">
              <a:buNone/>
              <a:defRPr sz="1563" b="1"/>
            </a:lvl8pPr>
            <a:lvl9pPr marL="3573109" indent="0">
              <a:buNone/>
              <a:defRPr sz="156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443" y="2505076"/>
            <a:ext cx="40624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61413" y="1681163"/>
            <a:ext cx="4082436" cy="823912"/>
          </a:xfrm>
        </p:spPr>
        <p:txBody>
          <a:bodyPr anchor="b"/>
          <a:lstStyle>
            <a:lvl1pPr marL="0" indent="0">
              <a:buNone/>
              <a:defRPr sz="2345" b="1"/>
            </a:lvl1pPr>
            <a:lvl2pPr marL="446639" indent="0">
              <a:buNone/>
              <a:defRPr sz="1954" b="1"/>
            </a:lvl2pPr>
            <a:lvl3pPr marL="893277" indent="0">
              <a:buNone/>
              <a:defRPr sz="1758" b="1"/>
            </a:lvl3pPr>
            <a:lvl4pPr marL="1339916" indent="0">
              <a:buNone/>
              <a:defRPr sz="1563" b="1"/>
            </a:lvl4pPr>
            <a:lvl5pPr marL="1786555" indent="0">
              <a:buNone/>
              <a:defRPr sz="1563" b="1"/>
            </a:lvl5pPr>
            <a:lvl6pPr marL="2233193" indent="0">
              <a:buNone/>
              <a:defRPr sz="1563" b="1"/>
            </a:lvl6pPr>
            <a:lvl7pPr marL="2679832" indent="0">
              <a:buNone/>
              <a:defRPr sz="1563" b="1"/>
            </a:lvl7pPr>
            <a:lvl8pPr marL="3126471" indent="0">
              <a:buNone/>
              <a:defRPr sz="1563" b="1"/>
            </a:lvl8pPr>
            <a:lvl9pPr marL="3573109" indent="0">
              <a:buNone/>
              <a:defRPr sz="156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61413" y="2505076"/>
            <a:ext cx="408243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44888-57B6-494E-B3D2-96995DA59216}" type="datetime1">
              <a:rPr lang="en-US" smtClean="0"/>
              <a:t>4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76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DB62B0-FC69-4584-A9FC-5A21EEA01075}" type="datetime1">
              <a:rPr lang="en-US" smtClean="0"/>
              <a:t>4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884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Sapphi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1" y="2130430"/>
            <a:ext cx="6003588" cy="996403"/>
          </a:xfrm>
        </p:spPr>
        <p:txBody>
          <a:bodyPr anchor="b" anchorCtr="0"/>
          <a:lstStyle>
            <a:lvl1pPr>
              <a:defRPr sz="3200" spc="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07574" y="3135581"/>
            <a:ext cx="6003588" cy="931041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200" cap="all" spc="30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B30780-9B7F-104A-9D86-50A63F56C5DF}"/>
              </a:ext>
            </a:extLst>
          </p:cNvPr>
          <p:cNvSpPr txBox="1"/>
          <p:nvPr userDrawn="1"/>
        </p:nvSpPr>
        <p:spPr>
          <a:xfrm>
            <a:off x="901337" y="1476103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endParaRPr lang="en-US" sz="1400" b="1" i="0" u="none" strike="noStrike" kern="1200" cap="all" spc="20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0001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A139D-C59A-4C88-8A0C-AD9B2DE1AAA3}" type="datetime1">
              <a:rPr lang="en-US" smtClean="0"/>
              <a:t>4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2496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442" y="457201"/>
            <a:ext cx="3097149" cy="1600200"/>
          </a:xfrm>
        </p:spPr>
        <p:txBody>
          <a:bodyPr anchor="b"/>
          <a:lstStyle>
            <a:lvl1pPr>
              <a:defRPr sz="312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2436" y="987427"/>
            <a:ext cx="4861411" cy="4873625"/>
          </a:xfrm>
        </p:spPr>
        <p:txBody>
          <a:bodyPr/>
          <a:lstStyle>
            <a:lvl1pPr>
              <a:defRPr sz="3126"/>
            </a:lvl1pPr>
            <a:lvl2pPr>
              <a:defRPr sz="2735"/>
            </a:lvl2pPr>
            <a:lvl3pPr>
              <a:defRPr sz="2345"/>
            </a:lvl3pPr>
            <a:lvl4pPr>
              <a:defRPr sz="1954"/>
            </a:lvl4pPr>
            <a:lvl5pPr>
              <a:defRPr sz="1954"/>
            </a:lvl5pPr>
            <a:lvl6pPr>
              <a:defRPr sz="1954"/>
            </a:lvl6pPr>
            <a:lvl7pPr>
              <a:defRPr sz="1954"/>
            </a:lvl7pPr>
            <a:lvl8pPr>
              <a:defRPr sz="1954"/>
            </a:lvl8pPr>
            <a:lvl9pPr>
              <a:defRPr sz="195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1442" y="2057400"/>
            <a:ext cx="3097149" cy="3811588"/>
          </a:xfrm>
        </p:spPr>
        <p:txBody>
          <a:bodyPr/>
          <a:lstStyle>
            <a:lvl1pPr marL="0" indent="0">
              <a:buNone/>
              <a:defRPr sz="1563"/>
            </a:lvl1pPr>
            <a:lvl2pPr marL="446639" indent="0">
              <a:buNone/>
              <a:defRPr sz="1368"/>
            </a:lvl2pPr>
            <a:lvl3pPr marL="893277" indent="0">
              <a:buNone/>
              <a:defRPr sz="1172"/>
            </a:lvl3pPr>
            <a:lvl4pPr marL="1339916" indent="0">
              <a:buNone/>
              <a:defRPr sz="977"/>
            </a:lvl4pPr>
            <a:lvl5pPr marL="1786555" indent="0">
              <a:buNone/>
              <a:defRPr sz="977"/>
            </a:lvl5pPr>
            <a:lvl6pPr marL="2233193" indent="0">
              <a:buNone/>
              <a:defRPr sz="977"/>
            </a:lvl6pPr>
            <a:lvl7pPr marL="2679832" indent="0">
              <a:buNone/>
              <a:defRPr sz="977"/>
            </a:lvl7pPr>
            <a:lvl8pPr marL="3126471" indent="0">
              <a:buNone/>
              <a:defRPr sz="977"/>
            </a:lvl8pPr>
            <a:lvl9pPr marL="3573109" indent="0">
              <a:buNone/>
              <a:defRPr sz="97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10E2-C562-4A71-9B00-F2AD6ED52F32}" type="datetime1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0086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442" y="457201"/>
            <a:ext cx="3097149" cy="1600200"/>
          </a:xfrm>
        </p:spPr>
        <p:txBody>
          <a:bodyPr anchor="b"/>
          <a:lstStyle>
            <a:lvl1pPr>
              <a:defRPr sz="312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082436" y="987427"/>
            <a:ext cx="4861411" cy="4873625"/>
          </a:xfrm>
        </p:spPr>
        <p:txBody>
          <a:bodyPr anchor="t"/>
          <a:lstStyle>
            <a:lvl1pPr marL="0" indent="0">
              <a:buNone/>
              <a:defRPr sz="3126"/>
            </a:lvl1pPr>
            <a:lvl2pPr marL="446639" indent="0">
              <a:buNone/>
              <a:defRPr sz="2735"/>
            </a:lvl2pPr>
            <a:lvl3pPr marL="893277" indent="0">
              <a:buNone/>
              <a:defRPr sz="2345"/>
            </a:lvl3pPr>
            <a:lvl4pPr marL="1339916" indent="0">
              <a:buNone/>
              <a:defRPr sz="1954"/>
            </a:lvl4pPr>
            <a:lvl5pPr marL="1786555" indent="0">
              <a:buNone/>
              <a:defRPr sz="1954"/>
            </a:lvl5pPr>
            <a:lvl6pPr marL="2233193" indent="0">
              <a:buNone/>
              <a:defRPr sz="1954"/>
            </a:lvl6pPr>
            <a:lvl7pPr marL="2679832" indent="0">
              <a:buNone/>
              <a:defRPr sz="1954"/>
            </a:lvl7pPr>
            <a:lvl8pPr marL="3126471" indent="0">
              <a:buNone/>
              <a:defRPr sz="1954"/>
            </a:lvl8pPr>
            <a:lvl9pPr marL="3573109" indent="0">
              <a:buNone/>
              <a:defRPr sz="1954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1442" y="2057400"/>
            <a:ext cx="3097149" cy="3811588"/>
          </a:xfrm>
        </p:spPr>
        <p:txBody>
          <a:bodyPr/>
          <a:lstStyle>
            <a:lvl1pPr marL="0" indent="0">
              <a:buNone/>
              <a:defRPr sz="1563"/>
            </a:lvl1pPr>
            <a:lvl2pPr marL="446639" indent="0">
              <a:buNone/>
              <a:defRPr sz="1368"/>
            </a:lvl2pPr>
            <a:lvl3pPr marL="893277" indent="0">
              <a:buNone/>
              <a:defRPr sz="1172"/>
            </a:lvl3pPr>
            <a:lvl4pPr marL="1339916" indent="0">
              <a:buNone/>
              <a:defRPr sz="977"/>
            </a:lvl4pPr>
            <a:lvl5pPr marL="1786555" indent="0">
              <a:buNone/>
              <a:defRPr sz="977"/>
            </a:lvl5pPr>
            <a:lvl6pPr marL="2233193" indent="0">
              <a:buNone/>
              <a:defRPr sz="977"/>
            </a:lvl6pPr>
            <a:lvl7pPr marL="2679832" indent="0">
              <a:buNone/>
              <a:defRPr sz="977"/>
            </a:lvl7pPr>
            <a:lvl8pPr marL="3126471" indent="0">
              <a:buNone/>
              <a:defRPr sz="977"/>
            </a:lvl8pPr>
            <a:lvl9pPr marL="3573109" indent="0">
              <a:buNone/>
              <a:defRPr sz="97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A8F3A-E7F1-49E7-8D28-5DDFD32FFA01}" type="datetime1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7449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2783D-D43F-42EF-B0D0-45909432AEDE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516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71997" y="365125"/>
            <a:ext cx="20706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193" y="365125"/>
            <a:ext cx="609176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B22B0-2D56-4D67-803F-5744E4558F10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594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07571" y="2130430"/>
            <a:ext cx="6003588" cy="996403"/>
          </a:xfrm>
        </p:spPr>
        <p:txBody>
          <a:bodyPr anchor="b" anchorCtr="0"/>
          <a:lstStyle>
            <a:lvl1pPr>
              <a:defRPr sz="3200" spc="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itle Placeholder 1"/>
          <p:cNvSpPr txBox="1">
            <a:spLocks/>
          </p:cNvSpPr>
          <p:nvPr userDrawn="1"/>
        </p:nvSpPr>
        <p:spPr>
          <a:xfrm>
            <a:off x="407573" y="382760"/>
            <a:ext cx="8790421" cy="125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 cap="all" spc="5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GB" sz="1000" b="1" kern="0" spc="300" dirty="0">
                <a:solidFill>
                  <a:srgbClr val="FFFFFF"/>
                </a:solidFill>
              </a:rPr>
              <a:t>Presentation title here</a:t>
            </a:r>
            <a:endParaRPr lang="en-US" sz="1000" b="1" kern="0" spc="300" dirty="0">
              <a:solidFill>
                <a:srgbClr val="FFFFFF"/>
              </a:solidFill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595119" y="6461503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000" smtClean="0">
                <a:solidFill>
                  <a:schemeClr val="bg1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6F0A65-D498-AF47-8D51-114CFCBAD8DA}"/>
              </a:ext>
            </a:extLst>
          </p:cNvPr>
          <p:cNvSpPr txBox="1"/>
          <p:nvPr userDrawn="1"/>
        </p:nvSpPr>
        <p:spPr>
          <a:xfrm>
            <a:off x="2508069" y="5133703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endParaRPr lang="en-US" sz="1400" b="1" i="0" u="none" strike="noStrike" kern="1200" cap="all" spc="20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551A66-E96D-8346-B9FC-9332AA6E6E85}"/>
              </a:ext>
            </a:extLst>
          </p:cNvPr>
          <p:cNvSpPr txBox="1"/>
          <p:nvPr userDrawn="1"/>
        </p:nvSpPr>
        <p:spPr>
          <a:xfrm>
            <a:off x="8190411" y="209006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endParaRPr lang="en-US" sz="1400" b="1" i="0" u="none" strike="noStrike" kern="1200" cap="all" spc="20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46607B-99C8-6945-97A6-FE5F4290F21B}"/>
              </a:ext>
            </a:extLst>
          </p:cNvPr>
          <p:cNvSpPr txBox="1"/>
          <p:nvPr userDrawn="1"/>
        </p:nvSpPr>
        <p:spPr>
          <a:xfrm>
            <a:off x="8360229" y="692331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endParaRPr lang="en-US" sz="1400" b="1" i="0" u="none" strike="noStrike" kern="1200" cap="all" spc="20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46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heme" Target="../theme/theme2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ags" Target="../tags/tag24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2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heme" Target="../theme/theme3.xml"/><Relationship Id="rId28" Type="http://schemas.openxmlformats.org/officeDocument/2006/relationships/tags" Target="../tags/tag2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tags" Target="../tags/tag29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7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tags" Target="../tags/tag36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ags" Target="../tags/tag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2750" y="412750"/>
            <a:ext cx="8785225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412750" y="1308100"/>
            <a:ext cx="8785225" cy="4765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>
            <p:custDataLst>
              <p:tags r:id="rId23"/>
            </p:custDataLst>
          </p:nvPr>
        </p:nvSpPr>
        <p:spPr>
          <a:xfrm>
            <a:off x="8753475" y="6438900"/>
            <a:ext cx="4445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>
              <a:lnSpc>
                <a:spcPct val="100000"/>
              </a:lnSpc>
              <a:defRPr sz="11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fld id="{674AE3D8-ADA0-447B-9E8F-F53DD9427628}" type="slidenum">
              <a:rPr lang="en-GB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GB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Copyright"/>
          <p:cNvSpPr txBox="1"/>
          <p:nvPr>
            <p:custDataLst>
              <p:tags r:id="rId24"/>
            </p:custDataLst>
          </p:nvPr>
        </p:nvSpPr>
        <p:spPr>
          <a:xfrm>
            <a:off x="412750" y="6438900"/>
            <a:ext cx="290464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pyright © 2019 Mercer </a:t>
            </a:r>
            <a:r>
              <a:rPr lang="en-GB" sz="1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ettl</a:t>
            </a:r>
            <a:r>
              <a:rPr lang="en-GB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. All rights reserved.</a:t>
            </a:r>
          </a:p>
        </p:txBody>
      </p:sp>
      <p:sp>
        <p:nvSpPr>
          <p:cNvPr id="6" name="Date" hidden="1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4544169" y="6523478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D4C7D2-CCDD-4E8D-AC60-8F4E99E1FB74}" type="datetime3">
              <a:rPr lang="en-US" sz="700" smtClean="0">
                <a:solidFill>
                  <a:schemeClr val="tx1"/>
                </a:solidFill>
              </a:rPr>
              <a:pPr/>
              <a:t>21 April 2021</a:t>
            </a:fld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7" name="Filepath"/>
          <p:cNvSpPr txBox="1"/>
          <p:nvPr>
            <p:custDataLst>
              <p:tags r:id="rId26"/>
            </p:custDataLst>
          </p:nvPr>
        </p:nvSpPr>
        <p:spPr>
          <a:xfrm>
            <a:off x="2484000" y="6463792"/>
            <a:ext cx="6022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800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usiness" hidden="1"/>
          <p:cNvSpPr txBox="1"/>
          <p:nvPr>
            <p:custDataLst>
              <p:tags r:id="rId27"/>
            </p:custDataLst>
          </p:nvPr>
        </p:nvSpPr>
        <p:spPr>
          <a:xfrm>
            <a:off x="412750" y="6438900"/>
            <a:ext cx="289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>
                <a:solidFill>
                  <a:schemeClr val="folHlink"/>
                </a:solidFill>
                <a:latin typeface="Arial" pitchFamily="34" charset="0"/>
                <a:cs typeface="Arial" pitchFamily="34" charset="0"/>
              </a:rPr>
              <a:t>MERCER</a:t>
            </a:r>
            <a:endParaRPr lang="en-GB" sz="1000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FooterTopBorder"/>
          <p:cNvCxnSpPr/>
          <p:nvPr>
            <p:custDataLst>
              <p:tags r:id="rId28"/>
            </p:custDataLst>
          </p:nvPr>
        </p:nvCxnSpPr>
        <p:spPr>
          <a:xfrm>
            <a:off x="412750" y="6134100"/>
            <a:ext cx="8785225" cy="0"/>
          </a:xfrm>
          <a:prstGeom prst="straightConnector1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7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9" r:id="rId15"/>
    <p:sldLayoutId id="2147483770" r:id="rId16"/>
    <p:sldLayoutId id="2147483771" r:id="rId17"/>
    <p:sldLayoutId id="2147483772" r:id="rId18"/>
    <p:sldLayoutId id="2147483809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 cap="all" spc="400">
          <a:solidFill>
            <a:schemeClr val="accent3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01600" indent="-201600" algn="l" defTabSz="914400" rtl="0" eaLnBrk="1" latinLnBrk="0" hangingPunct="1">
        <a:spcBef>
          <a:spcPts val="144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1pPr>
      <a:lvl2pPr marL="507600" indent="-2808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2pPr>
      <a:lvl3pPr marL="687600" indent="-1764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3pPr>
      <a:lvl4pPr marL="864000" indent="-1764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4pPr>
      <a:lvl5pPr marL="1040400" indent="-1728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412751" y="412750"/>
            <a:ext cx="8785225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  <p:custDataLst>
              <p:tags r:id="rId25"/>
            </p:custDataLst>
          </p:nvPr>
        </p:nvSpPr>
        <p:spPr>
          <a:xfrm>
            <a:off x="412751" y="1308101"/>
            <a:ext cx="8785225" cy="4765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>
            <p:custDataLst>
              <p:tags r:id="rId26"/>
            </p:custDataLst>
          </p:nvPr>
        </p:nvSpPr>
        <p:spPr>
          <a:xfrm>
            <a:off x="8753475" y="6438902"/>
            <a:ext cx="444500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>
              <a:lnSpc>
                <a:spcPct val="100000"/>
              </a:lnSpc>
              <a:defRPr sz="11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fld id="{674AE3D8-ADA0-447B-9E8F-F53DD9427628}" type="slidenum">
              <a:rPr lang="en-GB" sz="952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GB" sz="952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Copyright"/>
          <p:cNvSpPr txBox="1"/>
          <p:nvPr>
            <p:custDataLst>
              <p:tags r:id="rId27"/>
            </p:custDataLst>
          </p:nvPr>
        </p:nvSpPr>
        <p:spPr>
          <a:xfrm>
            <a:off x="412751" y="6438902"/>
            <a:ext cx="2725105" cy="1465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pyright © 2019 Mercer </a:t>
            </a:r>
            <a:r>
              <a:rPr lang="en-GB" sz="9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ettl</a:t>
            </a:r>
            <a:r>
              <a:rPr lang="en-GB" sz="9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. All rights reserved.</a:t>
            </a:r>
          </a:p>
        </p:txBody>
      </p:sp>
      <p:sp>
        <p:nvSpPr>
          <p:cNvPr id="6" name="Date" hidden="1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4519324" y="6526012"/>
            <a:ext cx="557845" cy="10265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D4C7D2-CCDD-4E8D-AC60-8F4E99E1FB74}" type="datetime3">
              <a:rPr lang="en-US" sz="667" smtClean="0">
                <a:solidFill>
                  <a:schemeClr val="tx1"/>
                </a:solidFill>
              </a:rPr>
              <a:pPr/>
              <a:t>21 April 2021</a:t>
            </a:fld>
            <a:endParaRPr lang="en-US" sz="667" dirty="0">
              <a:solidFill>
                <a:schemeClr val="tx1"/>
              </a:solidFill>
            </a:endParaRPr>
          </a:p>
        </p:txBody>
      </p:sp>
      <p:sp>
        <p:nvSpPr>
          <p:cNvPr id="7" name="Filepath"/>
          <p:cNvSpPr txBox="1"/>
          <p:nvPr>
            <p:custDataLst>
              <p:tags r:id="rId29"/>
            </p:custDataLst>
          </p:nvPr>
        </p:nvSpPr>
        <p:spPr>
          <a:xfrm>
            <a:off x="2484000" y="6463792"/>
            <a:ext cx="6022800" cy="117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762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usiness" hidden="1"/>
          <p:cNvSpPr txBox="1"/>
          <p:nvPr>
            <p:custDataLst>
              <p:tags r:id="rId30"/>
            </p:custDataLst>
          </p:nvPr>
        </p:nvSpPr>
        <p:spPr>
          <a:xfrm>
            <a:off x="412750" y="6438902"/>
            <a:ext cx="2895600" cy="1465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52">
                <a:solidFill>
                  <a:schemeClr val="folHlink"/>
                </a:solidFill>
                <a:latin typeface="Arial" pitchFamily="34" charset="0"/>
                <a:cs typeface="Arial" pitchFamily="34" charset="0"/>
              </a:rPr>
              <a:t>MERCER</a:t>
            </a:r>
            <a:endParaRPr lang="en-GB" sz="952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FooterTopBorder"/>
          <p:cNvCxnSpPr/>
          <p:nvPr>
            <p:custDataLst>
              <p:tags r:id="rId31"/>
            </p:custDataLst>
          </p:nvPr>
        </p:nvCxnSpPr>
        <p:spPr>
          <a:xfrm>
            <a:off x="412751" y="6134100"/>
            <a:ext cx="8785225" cy="0"/>
          </a:xfrm>
          <a:prstGeom prst="straightConnector1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9621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</p:sldLayoutIdLst>
  <p:hf sldNum="0" hdr="0" ftr="0" dt="0"/>
  <p:txStyles>
    <p:titleStyle>
      <a:lvl1pPr algn="l" defTabSz="870692" rtl="0" eaLnBrk="1" latinLnBrk="0" hangingPunct="1">
        <a:lnSpc>
          <a:spcPct val="100000"/>
        </a:lnSpc>
        <a:spcBef>
          <a:spcPct val="0"/>
        </a:spcBef>
        <a:buNone/>
        <a:defRPr sz="1904" b="1" kern="1200" cap="all" spc="381">
          <a:solidFill>
            <a:schemeClr val="accent3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91964" indent="-191964" algn="l" defTabSz="870692" rtl="0" eaLnBrk="1" latinLnBrk="0" hangingPunct="1">
        <a:spcBef>
          <a:spcPts val="1371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1pPr>
      <a:lvl2pPr marL="483337" indent="-26737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2pPr>
      <a:lvl3pPr marL="654733" indent="-16796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3pPr>
      <a:lvl4pPr marL="822701" indent="-16796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4pPr>
      <a:lvl5pPr marL="990669" indent="-164540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5pPr>
      <a:lvl6pPr marL="2394402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29748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265094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00440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038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383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6729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075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7421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2767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412751" y="412750"/>
            <a:ext cx="8785225" cy="6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  <p:custDataLst>
              <p:tags r:id="rId25"/>
            </p:custDataLst>
          </p:nvPr>
        </p:nvSpPr>
        <p:spPr>
          <a:xfrm>
            <a:off x="412751" y="1308101"/>
            <a:ext cx="8785225" cy="4765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>
            <p:custDataLst>
              <p:tags r:id="rId26"/>
            </p:custDataLst>
          </p:nvPr>
        </p:nvSpPr>
        <p:spPr>
          <a:xfrm>
            <a:off x="8753475" y="6438902"/>
            <a:ext cx="444500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>
              <a:lnSpc>
                <a:spcPct val="100000"/>
              </a:lnSpc>
              <a:defRPr sz="11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fld id="{674AE3D8-ADA0-447B-9E8F-F53DD9427628}" type="slidenum">
              <a:rPr lang="en-GB" sz="952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GB" sz="952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Copyright"/>
          <p:cNvSpPr txBox="1"/>
          <p:nvPr>
            <p:custDataLst>
              <p:tags r:id="rId27"/>
            </p:custDataLst>
          </p:nvPr>
        </p:nvSpPr>
        <p:spPr>
          <a:xfrm>
            <a:off x="412751" y="6438902"/>
            <a:ext cx="2725105" cy="1465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pyright © 2019 Mercer </a:t>
            </a:r>
            <a:r>
              <a:rPr lang="en-GB" sz="9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ettl</a:t>
            </a:r>
            <a:r>
              <a:rPr lang="en-GB" sz="9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. All rights reserved.</a:t>
            </a:r>
          </a:p>
        </p:txBody>
      </p:sp>
      <p:sp>
        <p:nvSpPr>
          <p:cNvPr id="6" name="Date" hidden="1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4519324" y="6526012"/>
            <a:ext cx="557845" cy="10265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D4C7D2-CCDD-4E8D-AC60-8F4E99E1FB74}" type="datetime3">
              <a:rPr lang="en-US" sz="667" smtClean="0">
                <a:solidFill>
                  <a:schemeClr val="tx1"/>
                </a:solidFill>
              </a:rPr>
              <a:pPr/>
              <a:t>21 April 2021</a:t>
            </a:fld>
            <a:endParaRPr lang="en-US" sz="667" dirty="0">
              <a:solidFill>
                <a:schemeClr val="tx1"/>
              </a:solidFill>
            </a:endParaRPr>
          </a:p>
        </p:txBody>
      </p:sp>
      <p:sp>
        <p:nvSpPr>
          <p:cNvPr id="7" name="Filepath"/>
          <p:cNvSpPr txBox="1"/>
          <p:nvPr>
            <p:custDataLst>
              <p:tags r:id="rId29"/>
            </p:custDataLst>
          </p:nvPr>
        </p:nvSpPr>
        <p:spPr>
          <a:xfrm>
            <a:off x="2484000" y="6463792"/>
            <a:ext cx="6022800" cy="117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762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usiness" hidden="1"/>
          <p:cNvSpPr txBox="1"/>
          <p:nvPr>
            <p:custDataLst>
              <p:tags r:id="rId30"/>
            </p:custDataLst>
          </p:nvPr>
        </p:nvSpPr>
        <p:spPr>
          <a:xfrm>
            <a:off x="412750" y="6438902"/>
            <a:ext cx="2895600" cy="1465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52">
                <a:solidFill>
                  <a:schemeClr val="folHlink"/>
                </a:solidFill>
                <a:latin typeface="Arial" pitchFamily="34" charset="0"/>
                <a:cs typeface="Arial" pitchFamily="34" charset="0"/>
              </a:rPr>
              <a:t>MERCER</a:t>
            </a:r>
            <a:endParaRPr lang="en-GB" sz="952" dirty="0">
              <a:solidFill>
                <a:schemeClr val="folHlin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FooterTopBorder"/>
          <p:cNvCxnSpPr/>
          <p:nvPr>
            <p:custDataLst>
              <p:tags r:id="rId31"/>
            </p:custDataLst>
          </p:nvPr>
        </p:nvCxnSpPr>
        <p:spPr>
          <a:xfrm>
            <a:off x="412751" y="6134100"/>
            <a:ext cx="8785225" cy="0"/>
          </a:xfrm>
          <a:prstGeom prst="straightConnector1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24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6" r:id="rId22"/>
  </p:sldLayoutIdLst>
  <p:hf sldNum="0" hdr="0" ftr="0" dt="0"/>
  <p:txStyles>
    <p:titleStyle>
      <a:lvl1pPr algn="l" defTabSz="870692" rtl="0" eaLnBrk="1" latinLnBrk="0" hangingPunct="1">
        <a:lnSpc>
          <a:spcPct val="100000"/>
        </a:lnSpc>
        <a:spcBef>
          <a:spcPct val="0"/>
        </a:spcBef>
        <a:buNone/>
        <a:defRPr sz="1904" b="1" kern="1200" cap="all" spc="381">
          <a:solidFill>
            <a:schemeClr val="accent3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91964" indent="-191964" algn="l" defTabSz="870692" rtl="0" eaLnBrk="1" latinLnBrk="0" hangingPunct="1">
        <a:spcBef>
          <a:spcPts val="1371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1pPr>
      <a:lvl2pPr marL="483337" indent="-26737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2pPr>
      <a:lvl3pPr marL="654733" indent="-16796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3pPr>
      <a:lvl4pPr marL="822701" indent="-167968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4pPr>
      <a:lvl5pPr marL="990669" indent="-164540" algn="l" defTabSz="870692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714" kern="1200">
          <a:solidFill>
            <a:srgbClr val="7F7F7F"/>
          </a:solidFill>
          <a:latin typeface="Arial" pitchFamily="34" charset="0"/>
          <a:ea typeface="+mn-ea"/>
          <a:cs typeface="Arial" pitchFamily="34" charset="0"/>
        </a:defRPr>
      </a:lvl5pPr>
      <a:lvl6pPr marL="2394402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29748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265094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00440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038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383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6729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075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7421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2767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781" y="363600"/>
            <a:ext cx="8813395" cy="6241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780" y="1441450"/>
            <a:ext cx="8814831" cy="4800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381779" y="6381750"/>
            <a:ext cx="8832564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81778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793315" rtl="0" eaLnBrk="1" latinLnBrk="0" hangingPunct="1">
              <a:defRPr sz="800" b="0" kern="1200" cap="all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96657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3315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9972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663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328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994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7660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258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35" dirty="0">
                <a:solidFill>
                  <a:schemeClr val="bg1">
                    <a:lumMod val="50000"/>
                  </a:schemeClr>
                </a:solidFill>
              </a:rPr>
              <a:t>© Mercer 201</a:t>
            </a:r>
            <a:r>
              <a:rPr lang="pl-PL" sz="635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635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3691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2" b="0" cap="all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25132A8F-85D0-C345-9BCA-9612AAF187E7}" type="slidenum">
              <a:rPr lang="en-US" smtClean="0"/>
              <a:pPr defTabSz="962489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509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7674" rtl="0" eaLnBrk="1" latinLnBrk="0" hangingPunct="1">
        <a:spcBef>
          <a:spcPct val="0"/>
        </a:spcBef>
        <a:buNone/>
        <a:defRPr sz="1667" b="1" i="0" kern="1200" cap="all" spc="457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62430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0658" indent="-168231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93086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55514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159" indent="-243643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»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97200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6pPr>
      <a:lvl7pPr marL="2714876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7pPr>
      <a:lvl8pPr marL="3132547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8pPr>
      <a:lvl9pPr marL="3550219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1pPr>
      <a:lvl2pPr marL="417674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2pPr>
      <a:lvl3pPr marL="835346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253020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670693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88362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506037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923711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341384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781" y="363600"/>
            <a:ext cx="8813395" cy="6241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780" y="1441450"/>
            <a:ext cx="8814831" cy="4800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381779" y="6381750"/>
            <a:ext cx="8832564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81778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793315" rtl="0" eaLnBrk="1" latinLnBrk="0" hangingPunct="1">
              <a:defRPr sz="800" b="0" kern="1200" cap="all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96657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3315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9972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663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328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9943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76600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258" algn="l" defTabSz="79331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35" dirty="0">
                <a:solidFill>
                  <a:schemeClr val="bg1">
                    <a:lumMod val="50000"/>
                  </a:schemeClr>
                </a:solidFill>
              </a:rPr>
              <a:t>© Mercer 201</a:t>
            </a:r>
            <a:r>
              <a:rPr lang="pl-PL" sz="635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635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73691" y="6525308"/>
            <a:ext cx="2240651" cy="1402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2" b="0" cap="all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62489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25132A8F-85D0-C345-9BCA-9612AAF187E7}" type="slidenum">
              <a:rPr lang="en-US" smtClean="0"/>
              <a:pPr defTabSz="962489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95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17674" rtl="0" eaLnBrk="1" latinLnBrk="0" hangingPunct="1">
        <a:spcBef>
          <a:spcPct val="0"/>
        </a:spcBef>
        <a:buNone/>
        <a:defRPr sz="1667" b="1" i="0" kern="1200" cap="all" spc="457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62430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0658" indent="-168231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93086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55514" indent="-162430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159" indent="-243643" algn="l" defTabSz="417674" rtl="0" eaLnBrk="1" latinLnBrk="0" hangingPunct="1">
        <a:spcBef>
          <a:spcPct val="20000"/>
        </a:spcBef>
        <a:buClr>
          <a:schemeClr val="accent1"/>
        </a:buClr>
        <a:buFont typeface="Arial"/>
        <a:buChar char="»"/>
        <a:defRPr sz="1667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97200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6pPr>
      <a:lvl7pPr marL="2714876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7pPr>
      <a:lvl8pPr marL="3132547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8pPr>
      <a:lvl9pPr marL="3550219" indent="-208834" algn="l" defTabSz="417674" rtl="0" eaLnBrk="1" latinLnBrk="0" hangingPunct="1">
        <a:spcBef>
          <a:spcPct val="20000"/>
        </a:spcBef>
        <a:buFont typeface="Arial"/>
        <a:buChar char="•"/>
        <a:defRPr sz="18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1pPr>
      <a:lvl2pPr marL="417674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2pPr>
      <a:lvl3pPr marL="835346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253020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670693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88362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506037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923711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341384" algn="l" defTabSz="417674" rtl="0" eaLnBrk="1" latinLnBrk="0" hangingPunct="1"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668" y="1552"/>
          <a:ext cx="1668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" name="think-cell Slide" r:id="rId16" imgW="471" imgH="472" progId="TCLayout.ActiveDocument.1">
                  <p:embed/>
                </p:oleObj>
              </mc:Choice>
              <mc:Fallback>
                <p:oleObj name="think-cell Slide" r:id="rId16" imgW="471" imgH="472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68" y="1552"/>
                        <a:ext cx="1668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66715" cy="155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2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0192" y="365127"/>
            <a:ext cx="82824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192" y="1825625"/>
            <a:ext cx="828240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192" y="6356351"/>
            <a:ext cx="21606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3285FE-E415-4050-8748-AB27880091F2}" type="datetime1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80924" y="6356351"/>
            <a:ext cx="32409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969" y="6356351"/>
            <a:ext cx="21606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FD1194-D80F-2F48-BE7A-96E70AF67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207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</p:sldLayoutIdLst>
  <p:hf hdr="0" ftr="0" dt="0"/>
  <p:txStyles>
    <p:titleStyle>
      <a:lvl1pPr algn="l" defTabSz="893277" rtl="0" eaLnBrk="1" latinLnBrk="0" hangingPunct="1">
        <a:lnSpc>
          <a:spcPct val="90000"/>
        </a:lnSpc>
        <a:spcBef>
          <a:spcPct val="0"/>
        </a:spcBef>
        <a:buNone/>
        <a:defRPr sz="42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319" indent="-223319" algn="l" defTabSz="893277" rtl="0" eaLnBrk="1" latinLnBrk="0" hangingPunct="1">
        <a:lnSpc>
          <a:spcPct val="90000"/>
        </a:lnSpc>
        <a:spcBef>
          <a:spcPts val="977"/>
        </a:spcBef>
        <a:buFont typeface="Arial" panose="020B0604020202020204" pitchFamily="34" charset="0"/>
        <a:buChar char="•"/>
        <a:defRPr sz="2735" kern="1200">
          <a:solidFill>
            <a:schemeClr val="tx1"/>
          </a:solidFill>
          <a:latin typeface="+mn-lt"/>
          <a:ea typeface="+mn-ea"/>
          <a:cs typeface="+mn-cs"/>
        </a:defRPr>
      </a:lvl1pPr>
      <a:lvl2pPr marL="669958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2345" kern="1200">
          <a:solidFill>
            <a:schemeClr val="tx1"/>
          </a:solidFill>
          <a:latin typeface="+mn-lt"/>
          <a:ea typeface="+mn-ea"/>
          <a:cs typeface="+mn-cs"/>
        </a:defRPr>
      </a:lvl2pPr>
      <a:lvl3pPr marL="1116597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954" kern="1200">
          <a:solidFill>
            <a:schemeClr val="tx1"/>
          </a:solidFill>
          <a:latin typeface="+mn-lt"/>
          <a:ea typeface="+mn-ea"/>
          <a:cs typeface="+mn-cs"/>
        </a:defRPr>
      </a:lvl3pPr>
      <a:lvl4pPr marL="1563235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4pPr>
      <a:lvl5pPr marL="2009874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5pPr>
      <a:lvl6pPr marL="2456513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6pPr>
      <a:lvl7pPr marL="2903151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7pPr>
      <a:lvl8pPr marL="3349790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8pPr>
      <a:lvl9pPr marL="3796429" indent="-223319" algn="l" defTabSz="893277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1pPr>
      <a:lvl2pPr marL="446639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2pPr>
      <a:lvl3pPr marL="893277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3pPr>
      <a:lvl4pPr marL="1339916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4pPr>
      <a:lvl5pPr marL="1786555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5pPr>
      <a:lvl6pPr marL="2233193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6pPr>
      <a:lvl7pPr marL="2679832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7pPr>
      <a:lvl8pPr marL="3126471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8pPr>
      <a:lvl9pPr marL="3573109" algn="l" defTabSz="893277" rtl="0" eaLnBrk="1" latinLnBrk="0" hangingPunct="1">
        <a:defRPr sz="175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1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1B00D09-4FD5-2347-BCA3-DFD66BA8A048}"/>
              </a:ext>
            </a:extLst>
          </p:cNvPr>
          <p:cNvSpPr/>
          <p:nvPr/>
        </p:nvSpPr>
        <p:spPr>
          <a:xfrm>
            <a:off x="615723" y="383370"/>
            <a:ext cx="2325864" cy="2405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46639"/>
            <a:r>
              <a:rPr lang="en-AU" sz="977" b="1" spc="195" dirty="0">
                <a:solidFill>
                  <a:srgbClr val="CBCBCB"/>
                </a:solidFill>
                <a:latin typeface="Arial" panose="020B0604020202020204" pitchFamily="34" charset="0"/>
              </a:rPr>
              <a:t>HEALTH WEALTH CAREER</a:t>
            </a:r>
            <a:endParaRPr lang="en-AU" sz="977" spc="195" dirty="0">
              <a:solidFill>
                <a:srgbClr val="CBCBCB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D5BC15-7951-024D-8D53-93BC012C311F}"/>
              </a:ext>
            </a:extLst>
          </p:cNvPr>
          <p:cNvSpPr/>
          <p:nvPr/>
        </p:nvSpPr>
        <p:spPr>
          <a:xfrm>
            <a:off x="615723" y="1635497"/>
            <a:ext cx="2475934" cy="362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46639"/>
            <a:r>
              <a:rPr lang="en-AU" sz="1758" b="1" spc="195" dirty="0">
                <a:solidFill>
                  <a:srgbClr val="8297CC"/>
                </a:solidFill>
                <a:latin typeface="Arial" panose="020B0604020202020204" pitchFamily="34" charset="0"/>
              </a:rPr>
              <a:t>#</a:t>
            </a:r>
            <a:r>
              <a:rPr lang="en-AU" sz="1758" b="1" spc="195" dirty="0">
                <a:solidFill>
                  <a:srgbClr val="F3477A"/>
                </a:solidFill>
                <a:latin typeface="Arial" panose="020B0604020202020204" pitchFamily="34" charset="0"/>
              </a:rPr>
              <a:t>DECODE</a:t>
            </a:r>
            <a:r>
              <a:rPr lang="en-AU" sz="1758" b="1" spc="195" dirty="0">
                <a:solidFill>
                  <a:srgbClr val="FFC000"/>
                </a:solidFill>
                <a:latin typeface="Arial" panose="020B0604020202020204" pitchFamily="34" charset="0"/>
              </a:rPr>
              <a:t>TALENT</a:t>
            </a:r>
            <a:endParaRPr lang="en-AU" sz="1758" spc="195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E8D713-C909-A946-AEBA-D5A100DA4B71}"/>
              </a:ext>
            </a:extLst>
          </p:cNvPr>
          <p:cNvSpPr/>
          <p:nvPr/>
        </p:nvSpPr>
        <p:spPr>
          <a:xfrm>
            <a:off x="615723" y="2187849"/>
            <a:ext cx="4466540" cy="69155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46639"/>
            <a:r>
              <a:rPr lang="en-US" sz="1954" spc="195" dirty="0">
                <a:solidFill>
                  <a:srgbClr val="FFFFFF"/>
                </a:solidFill>
                <a:latin typeface="Arial" panose="020B0604020202020204" pitchFamily="34" charset="0"/>
              </a:rPr>
              <a:t>GET MOST OUT OF YOUR CAMPUS HIRING PROGRAM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01B7E7-CD89-FB4E-95F1-EA0F66F59B5B}"/>
              </a:ext>
            </a:extLst>
          </p:cNvPr>
          <p:cNvSpPr/>
          <p:nvPr/>
        </p:nvSpPr>
        <p:spPr>
          <a:xfrm>
            <a:off x="615723" y="3017892"/>
            <a:ext cx="31040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pc="100" dirty="0">
                <a:solidFill>
                  <a:srgbClr val="EE4F85"/>
                </a:solidFill>
                <a:latin typeface="Arial"/>
              </a:rPr>
              <a:t>Assess Candidate Fit with Technology 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986D19-531B-3F42-96E0-7CF0FE5E0CC5}"/>
              </a:ext>
            </a:extLst>
          </p:cNvPr>
          <p:cNvSpPr/>
          <p:nvPr/>
        </p:nvSpPr>
        <p:spPr>
          <a:xfrm>
            <a:off x="615723" y="4159209"/>
            <a:ext cx="1719104" cy="272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6639"/>
            <a:r>
              <a:rPr lang="en-AU" sz="1172" spc="100" dirty="0">
                <a:solidFill>
                  <a:srgbClr val="FFFFFF"/>
                </a:solidFill>
                <a:latin typeface="Arial" panose="020B0604020202020204" pitchFamily="34" charset="0"/>
              </a:rPr>
              <a:t>September 2019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9E8DEC-828F-A24E-B206-056D98075AA7}"/>
              </a:ext>
            </a:extLst>
          </p:cNvPr>
          <p:cNvGrpSpPr/>
          <p:nvPr/>
        </p:nvGrpSpPr>
        <p:grpSpPr>
          <a:xfrm>
            <a:off x="5017367" y="5455057"/>
            <a:ext cx="2731731" cy="1355877"/>
            <a:chOff x="4123455" y="5380912"/>
            <a:chExt cx="2731731" cy="135587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D7B78EE-DB25-47D6-8BB2-83AE1DE4D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6851" y="5735763"/>
              <a:ext cx="648335" cy="646175"/>
            </a:xfrm>
            <a:prstGeom prst="rect">
              <a:avLst/>
            </a:prstGeom>
          </p:spPr>
        </p:pic>
        <p:pic>
          <p:nvPicPr>
            <p:cNvPr id="5" name="Picture 4" descr="A close up of a logo&#10;&#10;Description automatically generated">
              <a:extLst>
                <a:ext uri="{FF2B5EF4-FFF2-40B4-BE49-F238E27FC236}">
                  <a16:creationId xmlns:a16="http://schemas.microsoft.com/office/drawing/2014/main" id="{B8F0CBC2-A2AA-1743-97F9-494A3D125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3455" y="5380912"/>
              <a:ext cx="1355877" cy="1355877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8591D55C-D56B-364E-B77B-48AAF07B36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1105944"/>
            <a:ext cx="3565966" cy="397315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A394EDB-E826-C54A-9A2F-92F128EB79D4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19599">
            <a:off x="4865339" y="807832"/>
            <a:ext cx="4420118" cy="442011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C29A01E-ED4A-4683-988E-8613416B287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690" y="5890388"/>
            <a:ext cx="2447386" cy="4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219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marL="0" marR="0" lvl="0" indent="0" algn="r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AF6D7-C208-42D9-801C-0DD95437C26D}" type="slidenum">
              <a:rPr kumimoji="0" lang="en-US" sz="117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46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7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 Box 3">
            <a:extLst>
              <a:ext uri="{FF2B5EF4-FFF2-40B4-BE49-F238E27FC236}">
                <a16:creationId xmlns:a16="http://schemas.microsoft.com/office/drawing/2014/main" id="{1BF71200-26E4-4CB3-BE2E-1B757AB01F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7764" y="2408968"/>
            <a:ext cx="5592127" cy="907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588" tIns="83588" rIns="83588" bIns="83588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35346"/>
            <a:r>
              <a:rPr lang="en-US" altLang="en-US" sz="24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Organizations say </a:t>
            </a:r>
            <a:r>
              <a:rPr lang="en-US" altLang="en-US" sz="2400" b="1" dirty="0">
                <a:solidFill>
                  <a:srgbClr val="FBAE17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lent Acquisition </a:t>
            </a:r>
            <a:r>
              <a:rPr lang="en-US" altLang="en-US" sz="24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s a Challenge in 2019</a:t>
            </a:r>
          </a:p>
        </p:txBody>
      </p:sp>
      <p:sp>
        <p:nvSpPr>
          <p:cNvPr id="73" name="Text Box 2">
            <a:extLst>
              <a:ext uri="{FF2B5EF4-FFF2-40B4-BE49-F238E27FC236}">
                <a16:creationId xmlns:a16="http://schemas.microsoft.com/office/drawing/2014/main" id="{5647FD1A-E270-42CB-B0E5-5BB9B4C7DD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1518" y="51188"/>
            <a:ext cx="2995645" cy="3969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0">
            <a:no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35346"/>
            <a:r>
              <a:rPr lang="en-US" altLang="en-US" sz="36590" b="1" dirty="0">
                <a:solidFill>
                  <a:srgbClr val="A6E2EF"/>
                </a:solidFill>
                <a:ea typeface="ＭＳ Ｐゴシック" pitchFamily="34" charset="-128"/>
              </a:rPr>
              <a:t>?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FCFD958-1071-43DD-9387-053CBAC4452A}"/>
              </a:ext>
            </a:extLst>
          </p:cNvPr>
          <p:cNvSpPr txBox="1"/>
          <p:nvPr/>
        </p:nvSpPr>
        <p:spPr>
          <a:xfrm>
            <a:off x="577764" y="1194001"/>
            <a:ext cx="3901871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en-US" sz="88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74%</a:t>
            </a:r>
            <a:endParaRPr lang="en-IN" sz="8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2DBA477-FA11-4A85-9F69-D9992FCAB2BF}"/>
              </a:ext>
            </a:extLst>
          </p:cNvPr>
          <p:cNvSpPr/>
          <p:nvPr/>
        </p:nvSpPr>
        <p:spPr>
          <a:xfrm>
            <a:off x="1374667" y="362596"/>
            <a:ext cx="2552302" cy="6333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758" b="1" dirty="0">
                <a:solidFill>
                  <a:srgbClr val="FDBB1B"/>
                </a:solidFill>
                <a:latin typeface="Arial" panose="020B0604020202020204" pitchFamily="34" charset="0"/>
              </a:rPr>
              <a:t>FOOD FOR THOUGHT</a:t>
            </a:r>
          </a:p>
          <a:p>
            <a:pPr defTabSz="446639">
              <a:defRPr/>
            </a:pPr>
            <a:r>
              <a:rPr lang="en-AU" sz="1758" b="1" spc="300" dirty="0">
                <a:solidFill>
                  <a:srgbClr val="FDBB1B"/>
                </a:solidFill>
                <a:latin typeface="Arial" panose="020B0604020202020204" pitchFamily="34" charset="0"/>
              </a:rPr>
              <a:t> </a:t>
            </a:r>
            <a:endParaRPr lang="en-AU" sz="1758" spc="3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71AE1C04-7B79-4A84-B11D-A2560110C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84" y="232826"/>
            <a:ext cx="607946" cy="620353"/>
          </a:xfrm>
          <a:prstGeom prst="rect">
            <a:avLst/>
          </a:prstGeom>
        </p:spPr>
      </p:pic>
      <p:sp>
        <p:nvSpPr>
          <p:cNvPr id="105" name="Text Box 3">
            <a:extLst>
              <a:ext uri="{FF2B5EF4-FFF2-40B4-BE49-F238E27FC236}">
                <a16:creationId xmlns:a16="http://schemas.microsoft.com/office/drawing/2014/main" id="{FF7632E5-C663-4132-A72A-2E7A9B9A0C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3038" y="5139484"/>
            <a:ext cx="3540334" cy="1276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588" tIns="83588" rIns="83588" bIns="83588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35346"/>
            <a:r>
              <a:rPr lang="en-US" altLang="en-US" sz="2400" b="1" dirty="0">
                <a:solidFill>
                  <a:prstClr val="white"/>
                </a:solidFill>
                <a:ea typeface="ＭＳ Ｐゴシック" pitchFamily="34" charset="-128"/>
              </a:rPr>
              <a:t>Organizations attend </a:t>
            </a:r>
          </a:p>
          <a:p>
            <a:pPr defTabSz="835346"/>
            <a:r>
              <a:rPr lang="en-US" altLang="en-US" sz="2400" b="1" dirty="0">
                <a:solidFill>
                  <a:srgbClr val="FBAE17"/>
                </a:solidFill>
                <a:ea typeface="ＭＳ Ｐゴシック" pitchFamily="34" charset="-128"/>
              </a:rPr>
              <a:t>25+ Campuses </a:t>
            </a:r>
            <a:r>
              <a:rPr lang="en-US" altLang="en-US" sz="2400" b="1" dirty="0">
                <a:solidFill>
                  <a:prstClr val="white"/>
                </a:solidFill>
                <a:ea typeface="ＭＳ Ｐゴシック" pitchFamily="34" charset="-128"/>
              </a:rPr>
              <a:t>each season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6D3CA4-9A01-4C7D-AAB8-3899BB1ADABB}"/>
              </a:ext>
            </a:extLst>
          </p:cNvPr>
          <p:cNvSpPr txBox="1"/>
          <p:nvPr/>
        </p:nvSpPr>
        <p:spPr>
          <a:xfrm>
            <a:off x="5344195" y="3928443"/>
            <a:ext cx="3901871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88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1 in 4</a:t>
            </a:r>
            <a:endParaRPr lang="en-IN" sz="8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35786B8C-33D1-40CF-8DA8-949C2D17F2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684" y="5139484"/>
            <a:ext cx="4114459" cy="1276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588" tIns="83588" rIns="83588" bIns="83588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35346"/>
            <a:r>
              <a:rPr lang="en-US" altLang="en-US" sz="2400" b="1" dirty="0">
                <a:solidFill>
                  <a:prstClr val="white"/>
                </a:solidFill>
                <a:ea typeface="ＭＳ Ｐゴシック" pitchFamily="34" charset="-128"/>
              </a:rPr>
              <a:t>Organizations believe </a:t>
            </a:r>
          </a:p>
          <a:p>
            <a:pPr defTabSz="835346"/>
            <a:r>
              <a:rPr lang="en-US" altLang="en-US" sz="2400" b="1" dirty="0">
                <a:solidFill>
                  <a:srgbClr val="FBAE17"/>
                </a:solidFill>
                <a:ea typeface="ＭＳ Ｐゴシック" pitchFamily="34" charset="-128"/>
              </a:rPr>
              <a:t>Campus Hiring </a:t>
            </a:r>
            <a:r>
              <a:rPr lang="en-US" altLang="en-US" sz="2400" b="1" dirty="0">
                <a:solidFill>
                  <a:schemeClr val="bg1"/>
                </a:solidFill>
                <a:ea typeface="ＭＳ Ｐゴシック" pitchFamily="34" charset="-128"/>
              </a:rPr>
              <a:t>is the best channel to source talent</a:t>
            </a:r>
            <a:endParaRPr lang="en-US" altLang="en-US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A10B0-9B99-4345-9CE7-01B32708A8D6}"/>
              </a:ext>
            </a:extLst>
          </p:cNvPr>
          <p:cNvSpPr txBox="1"/>
          <p:nvPr/>
        </p:nvSpPr>
        <p:spPr>
          <a:xfrm>
            <a:off x="668684" y="4020692"/>
            <a:ext cx="3901871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88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67%</a:t>
            </a:r>
            <a:endParaRPr lang="en-IN" sz="8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732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6B17A26A-1EB5-A940-9D1B-EFBE3FF61992}"/>
              </a:ext>
            </a:extLst>
          </p:cNvPr>
          <p:cNvSpPr/>
          <p:nvPr/>
        </p:nvSpPr>
        <p:spPr>
          <a:xfrm>
            <a:off x="1374667" y="362596"/>
            <a:ext cx="4711546" cy="6333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758" b="1" dirty="0">
                <a:solidFill>
                  <a:srgbClr val="FDBB1B"/>
                </a:solidFill>
                <a:latin typeface="Arial" panose="020B0604020202020204" pitchFamily="34" charset="0"/>
              </a:rPr>
              <a:t>THE BIG </a:t>
            </a:r>
            <a:r>
              <a:rPr lang="en-IN" sz="1758" b="1" dirty="0">
                <a:solidFill>
                  <a:srgbClr val="FDBB1B"/>
                </a:solidFill>
                <a:latin typeface="Arial" panose="020B0604020202020204" pitchFamily="34" charset="0"/>
              </a:rPr>
              <a:t>CAMPUS HIRING DILEMMA: 4Ws</a:t>
            </a:r>
          </a:p>
          <a:p>
            <a:pPr defTabSz="446639">
              <a:defRPr/>
            </a:pPr>
            <a:r>
              <a:rPr lang="en-AU" sz="1758" b="1" dirty="0">
                <a:solidFill>
                  <a:srgbClr val="FDBB1B"/>
                </a:solidFill>
                <a:latin typeface="Arial" panose="020B0604020202020204" pitchFamily="34" charset="0"/>
              </a:rPr>
              <a:t> </a:t>
            </a:r>
            <a:endParaRPr lang="en-AU" sz="1758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65BDA7B-F17A-F742-B660-F95E4CD59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29" y="232826"/>
            <a:ext cx="607946" cy="620353"/>
          </a:xfrm>
          <a:prstGeom prst="rect">
            <a:avLst/>
          </a:prstGeom>
        </p:spPr>
      </p:pic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defTabSz="446639">
              <a:defRPr/>
            </a:pPr>
            <a:fld id="{B5FAF6D7-C208-42D9-801C-0DD95437C26D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446639">
                <a:defRPr/>
              </a:pPr>
              <a:t>3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4A8D1E5-45AD-4A0E-87A6-3E369B83A112}"/>
              </a:ext>
            </a:extLst>
          </p:cNvPr>
          <p:cNvSpPr/>
          <p:nvPr/>
        </p:nvSpPr>
        <p:spPr>
          <a:xfrm>
            <a:off x="0" y="5729944"/>
            <a:ext cx="9602788" cy="4926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06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D451EF-462B-4358-BF39-A2411F66733A}"/>
              </a:ext>
            </a:extLst>
          </p:cNvPr>
          <p:cNvSpPr txBox="1"/>
          <p:nvPr/>
        </p:nvSpPr>
        <p:spPr>
          <a:xfrm>
            <a:off x="1072394" y="5789786"/>
            <a:ext cx="7659862" cy="372917"/>
          </a:xfrm>
          <a:prstGeom prst="rect">
            <a:avLst/>
          </a:prstGeom>
          <a:noFill/>
        </p:spPr>
        <p:txBody>
          <a:bodyPr wrap="square" lIns="68560" tIns="68560" rIns="68560" bIns="68560" rtlCol="0">
            <a:spAutoFit/>
          </a:bodyPr>
          <a:lstStyle/>
          <a:p>
            <a:pPr marL="0" marR="0" lvl="0" indent="0" algn="ctr" defTabSz="8706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24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Calibri Light"/>
              </a:rPr>
              <a:t>Are you spending too much for Hiring from Campuses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3822D2-D339-497C-86EC-1E53837E931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579" t="36497" r="6448" b="18965"/>
          <a:stretch/>
        </p:blipFill>
        <p:spPr>
          <a:xfrm>
            <a:off x="951715" y="1774371"/>
            <a:ext cx="7905166" cy="283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702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6B17A26A-1EB5-A940-9D1B-EFBE3FF61992}"/>
              </a:ext>
            </a:extLst>
          </p:cNvPr>
          <p:cNvSpPr/>
          <p:nvPr/>
        </p:nvSpPr>
        <p:spPr>
          <a:xfrm>
            <a:off x="1374667" y="362596"/>
            <a:ext cx="4051109" cy="362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46639">
              <a:defRPr/>
            </a:pPr>
            <a:r>
              <a:rPr lang="en-AU" sz="1758" b="1" dirty="0">
                <a:solidFill>
                  <a:srgbClr val="FDBB1B"/>
                </a:solidFill>
                <a:latin typeface="Arial" panose="020B0604020202020204" pitchFamily="34" charset="0"/>
              </a:rPr>
              <a:t>CAMPUS HIRING </a:t>
            </a:r>
            <a:r>
              <a:rPr lang="en-AU" sz="1758" b="1" dirty="0">
                <a:solidFill>
                  <a:schemeClr val="bg1"/>
                </a:solidFill>
                <a:latin typeface="Arial" panose="020B0604020202020204" pitchFamily="34" charset="0"/>
              </a:rPr>
              <a:t>BEST PRACTICES</a:t>
            </a:r>
            <a:endParaRPr lang="en-AU" sz="1758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65BDA7B-F17A-F742-B660-F95E4CD59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29" y="232826"/>
            <a:ext cx="607946" cy="620353"/>
          </a:xfrm>
          <a:prstGeom prst="rect">
            <a:avLst/>
          </a:prstGeom>
        </p:spPr>
      </p:pic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defTabSz="446639">
              <a:defRPr/>
            </a:pPr>
            <a:fld id="{B5FAF6D7-C208-42D9-801C-0DD95437C26D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446639">
                <a:defRPr/>
              </a:pPr>
              <a:t>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08AFC4C-2C17-4156-A667-AEB1DFB9F116}"/>
              </a:ext>
            </a:extLst>
          </p:cNvPr>
          <p:cNvGrpSpPr/>
          <p:nvPr/>
        </p:nvGrpSpPr>
        <p:grpSpPr>
          <a:xfrm>
            <a:off x="3735072" y="3384953"/>
            <a:ext cx="2396741" cy="1388072"/>
            <a:chOff x="544286" y="1012372"/>
            <a:chExt cx="7728857" cy="3825235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Right">
              <a:rot lat="1181010" lon="17962333" rev="0"/>
            </a:camera>
            <a:lightRig rig="chilly" dir="t"/>
          </a:scene3d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323A9F8-F406-44EC-AA07-A681CFDC34CB}"/>
                </a:ext>
              </a:extLst>
            </p:cNvPr>
            <p:cNvSpPr/>
            <p:nvPr/>
          </p:nvSpPr>
          <p:spPr>
            <a:xfrm>
              <a:off x="544286" y="4197527"/>
              <a:ext cx="7728857" cy="6400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sp3d extrusionH="355600" prstMaterial="metal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B9066A-774C-4ACB-A199-4E5D4056F600}"/>
                </a:ext>
              </a:extLst>
            </p:cNvPr>
            <p:cNvSpPr/>
            <p:nvPr/>
          </p:nvSpPr>
          <p:spPr>
            <a:xfrm>
              <a:off x="751114" y="2286001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A823E8-12BB-4C2B-B5DC-D410E822D6D7}"/>
                </a:ext>
              </a:extLst>
            </p:cNvPr>
            <p:cNvSpPr/>
            <p:nvPr/>
          </p:nvSpPr>
          <p:spPr>
            <a:xfrm>
              <a:off x="1665514" y="22860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61FC41-32D9-48A2-A42F-15CB76C9F682}"/>
                </a:ext>
              </a:extLst>
            </p:cNvPr>
            <p:cNvSpPr/>
            <p:nvPr/>
          </p:nvSpPr>
          <p:spPr>
            <a:xfrm>
              <a:off x="3494314" y="22860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843C2C8-83E7-45B3-A1DE-7947A05911E4}"/>
                </a:ext>
              </a:extLst>
            </p:cNvPr>
            <p:cNvSpPr/>
            <p:nvPr/>
          </p:nvSpPr>
          <p:spPr>
            <a:xfrm>
              <a:off x="751114" y="1650275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1893B47-AED4-449B-AD09-00DF5155CE6D}"/>
                </a:ext>
              </a:extLst>
            </p:cNvPr>
            <p:cNvSpPr/>
            <p:nvPr/>
          </p:nvSpPr>
          <p:spPr>
            <a:xfrm>
              <a:off x="751114" y="1012372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6941604-4793-4CEF-9269-B6007FF7EAF2}"/>
                </a:ext>
              </a:extLst>
            </p:cNvPr>
            <p:cNvSpPr/>
            <p:nvPr/>
          </p:nvSpPr>
          <p:spPr>
            <a:xfrm>
              <a:off x="7511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FC21CA2-D866-4E80-A423-C90C409B38B0}"/>
                </a:ext>
              </a:extLst>
            </p:cNvPr>
            <p:cNvSpPr/>
            <p:nvPr/>
          </p:nvSpPr>
          <p:spPr>
            <a:xfrm>
              <a:off x="16655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D1735F4-5A87-4C1B-AC77-B5B0EB7424E4}"/>
                </a:ext>
              </a:extLst>
            </p:cNvPr>
            <p:cNvSpPr/>
            <p:nvPr/>
          </p:nvSpPr>
          <p:spPr>
            <a:xfrm>
              <a:off x="34943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E5F199F-AFBC-4593-86BD-0ACA8FB60687}"/>
                </a:ext>
              </a:extLst>
            </p:cNvPr>
            <p:cNvSpPr/>
            <p:nvPr/>
          </p:nvSpPr>
          <p:spPr>
            <a:xfrm>
              <a:off x="53231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FA1FC43-E629-41CB-8016-7B6D97F4BD1C}"/>
                </a:ext>
              </a:extLst>
            </p:cNvPr>
            <p:cNvSpPr/>
            <p:nvPr/>
          </p:nvSpPr>
          <p:spPr>
            <a:xfrm>
              <a:off x="71519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9D1908C-A57D-4A1D-9ABF-FFEEE39FCDF2}"/>
                </a:ext>
              </a:extLst>
            </p:cNvPr>
            <p:cNvSpPr/>
            <p:nvPr/>
          </p:nvSpPr>
          <p:spPr>
            <a:xfrm>
              <a:off x="62375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B57A56E-4626-496F-8C6D-6FBE0211B5D4}"/>
                </a:ext>
              </a:extLst>
            </p:cNvPr>
            <p:cNvSpPr/>
            <p:nvPr/>
          </p:nvSpPr>
          <p:spPr>
            <a:xfrm>
              <a:off x="44087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50F4D03-6067-4D0D-8DCC-956C42CBE743}"/>
                </a:ext>
              </a:extLst>
            </p:cNvPr>
            <p:cNvSpPr/>
            <p:nvPr/>
          </p:nvSpPr>
          <p:spPr>
            <a:xfrm>
              <a:off x="7511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BAD9C46-FA20-4E70-B56C-2BB40D423A9F}"/>
                </a:ext>
              </a:extLst>
            </p:cNvPr>
            <p:cNvSpPr/>
            <p:nvPr/>
          </p:nvSpPr>
          <p:spPr>
            <a:xfrm>
              <a:off x="25799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BD4965E-5E3A-4CC8-89D7-55B836CABAF8}"/>
              </a:ext>
            </a:extLst>
          </p:cNvPr>
          <p:cNvGrpSpPr/>
          <p:nvPr/>
        </p:nvGrpSpPr>
        <p:grpSpPr>
          <a:xfrm>
            <a:off x="6555170" y="3154551"/>
            <a:ext cx="2396741" cy="1621918"/>
            <a:chOff x="544285" y="367941"/>
            <a:chExt cx="7728858" cy="4469666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Right">
              <a:rot lat="1181010" lon="17962333" rev="0"/>
            </a:camera>
            <a:lightRig rig="chilly" dir="t"/>
          </a:scene3d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2F62C41-0CE7-4883-9F0A-12807CEBADF7}"/>
                </a:ext>
              </a:extLst>
            </p:cNvPr>
            <p:cNvSpPr/>
            <p:nvPr/>
          </p:nvSpPr>
          <p:spPr>
            <a:xfrm>
              <a:off x="544286" y="4197527"/>
              <a:ext cx="7728857" cy="6400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sp3d extrusionH="355600" prstMaterial="metal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11AA87-97EF-43A3-AFB1-070038FC2A09}"/>
                </a:ext>
              </a:extLst>
            </p:cNvPr>
            <p:cNvSpPr/>
            <p:nvPr/>
          </p:nvSpPr>
          <p:spPr>
            <a:xfrm>
              <a:off x="751114" y="2286001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305D3AB-C5A9-4F47-B0B2-B4F6542AB654}"/>
                </a:ext>
              </a:extLst>
            </p:cNvPr>
            <p:cNvSpPr/>
            <p:nvPr/>
          </p:nvSpPr>
          <p:spPr>
            <a:xfrm>
              <a:off x="1665514" y="22860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7735748B-B122-41D4-9284-90FD45FE2385}"/>
                </a:ext>
              </a:extLst>
            </p:cNvPr>
            <p:cNvSpPr/>
            <p:nvPr/>
          </p:nvSpPr>
          <p:spPr>
            <a:xfrm>
              <a:off x="3494314" y="22860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4CB2E8E-C580-4392-B562-9415CE3791F8}"/>
                </a:ext>
              </a:extLst>
            </p:cNvPr>
            <p:cNvSpPr/>
            <p:nvPr/>
          </p:nvSpPr>
          <p:spPr>
            <a:xfrm>
              <a:off x="5323114" y="22860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B0F4A8A6-3480-48AB-A7D4-14F447B22DFE}"/>
                </a:ext>
              </a:extLst>
            </p:cNvPr>
            <p:cNvSpPr/>
            <p:nvPr/>
          </p:nvSpPr>
          <p:spPr>
            <a:xfrm>
              <a:off x="7151914" y="2286001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BFD3E457-4FC6-431E-A3C6-47F8179AD35A}"/>
                </a:ext>
              </a:extLst>
            </p:cNvPr>
            <p:cNvSpPr/>
            <p:nvPr/>
          </p:nvSpPr>
          <p:spPr>
            <a:xfrm>
              <a:off x="6237514" y="1650275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451527E-E9B2-4327-8CF7-F7BFA4BCB498}"/>
                </a:ext>
              </a:extLst>
            </p:cNvPr>
            <p:cNvSpPr/>
            <p:nvPr/>
          </p:nvSpPr>
          <p:spPr>
            <a:xfrm>
              <a:off x="4408714" y="1650275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3650889-1981-42A2-8C9F-30387BF6C3BE}"/>
                </a:ext>
              </a:extLst>
            </p:cNvPr>
            <p:cNvSpPr/>
            <p:nvPr/>
          </p:nvSpPr>
          <p:spPr>
            <a:xfrm>
              <a:off x="751114" y="1650275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FBF2407-99D2-4448-A22C-BB917DDD56C6}"/>
                </a:ext>
              </a:extLst>
            </p:cNvPr>
            <p:cNvSpPr/>
            <p:nvPr/>
          </p:nvSpPr>
          <p:spPr>
            <a:xfrm>
              <a:off x="2579914" y="1650275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39B5438-B9CC-4026-99BD-FB50BF359795}"/>
                </a:ext>
              </a:extLst>
            </p:cNvPr>
            <p:cNvSpPr/>
            <p:nvPr/>
          </p:nvSpPr>
          <p:spPr>
            <a:xfrm>
              <a:off x="751114" y="1012372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49FAB70-B177-42A7-A15D-412CD1DC65D2}"/>
                </a:ext>
              </a:extLst>
            </p:cNvPr>
            <p:cNvSpPr/>
            <p:nvPr/>
          </p:nvSpPr>
          <p:spPr>
            <a:xfrm>
              <a:off x="1665514" y="1012372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0A7C938-FBC4-49D8-A79E-70F331A4D1B0}"/>
                </a:ext>
              </a:extLst>
            </p:cNvPr>
            <p:cNvSpPr/>
            <p:nvPr/>
          </p:nvSpPr>
          <p:spPr>
            <a:xfrm>
              <a:off x="3494314" y="1012372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FC450F3C-ED18-435E-A5D8-9B28C5CC5BA3}"/>
                </a:ext>
              </a:extLst>
            </p:cNvPr>
            <p:cNvSpPr/>
            <p:nvPr/>
          </p:nvSpPr>
          <p:spPr>
            <a:xfrm>
              <a:off x="5323114" y="1012372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207D447-4780-4F00-A57A-3379DE7A808D}"/>
                </a:ext>
              </a:extLst>
            </p:cNvPr>
            <p:cNvSpPr/>
            <p:nvPr/>
          </p:nvSpPr>
          <p:spPr>
            <a:xfrm>
              <a:off x="7151914" y="1012372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B98BC41-A97D-4260-A4B4-1AC2E69FAB20}"/>
                </a:ext>
              </a:extLst>
            </p:cNvPr>
            <p:cNvSpPr/>
            <p:nvPr/>
          </p:nvSpPr>
          <p:spPr>
            <a:xfrm>
              <a:off x="7511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F0176C6-5813-407A-A1E7-F157625FB71E}"/>
                </a:ext>
              </a:extLst>
            </p:cNvPr>
            <p:cNvSpPr/>
            <p:nvPr/>
          </p:nvSpPr>
          <p:spPr>
            <a:xfrm>
              <a:off x="16655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8180B783-7AA4-48EF-A4A0-02656F06A364}"/>
                </a:ext>
              </a:extLst>
            </p:cNvPr>
            <p:cNvSpPr/>
            <p:nvPr/>
          </p:nvSpPr>
          <p:spPr>
            <a:xfrm>
              <a:off x="34943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548D20BE-2789-4611-8739-267259EE053E}"/>
                </a:ext>
              </a:extLst>
            </p:cNvPr>
            <p:cNvSpPr/>
            <p:nvPr/>
          </p:nvSpPr>
          <p:spPr>
            <a:xfrm>
              <a:off x="53231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B8B4F6E-5B86-4835-AB6C-F79B8A805DFF}"/>
                </a:ext>
              </a:extLst>
            </p:cNvPr>
            <p:cNvSpPr/>
            <p:nvPr/>
          </p:nvSpPr>
          <p:spPr>
            <a:xfrm>
              <a:off x="71519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675960FE-E958-4CD6-A250-7EF08C9DDBC2}"/>
                </a:ext>
              </a:extLst>
            </p:cNvPr>
            <p:cNvSpPr/>
            <p:nvPr/>
          </p:nvSpPr>
          <p:spPr>
            <a:xfrm>
              <a:off x="62375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1FB310E-1979-489E-AB5C-74D47C523631}"/>
                </a:ext>
              </a:extLst>
            </p:cNvPr>
            <p:cNvSpPr/>
            <p:nvPr/>
          </p:nvSpPr>
          <p:spPr>
            <a:xfrm>
              <a:off x="44087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87BB46C-9599-483A-9B1A-4217E6755DA2}"/>
                </a:ext>
              </a:extLst>
            </p:cNvPr>
            <p:cNvSpPr/>
            <p:nvPr/>
          </p:nvSpPr>
          <p:spPr>
            <a:xfrm>
              <a:off x="7511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630D8943-9DA1-434C-98B6-B6E17A6CB5DE}"/>
                </a:ext>
              </a:extLst>
            </p:cNvPr>
            <p:cNvSpPr/>
            <p:nvPr/>
          </p:nvSpPr>
          <p:spPr>
            <a:xfrm>
              <a:off x="25799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2B88D3D-B2EB-46A4-8D85-2E765FF754A8}"/>
                </a:ext>
              </a:extLst>
            </p:cNvPr>
            <p:cNvSpPr/>
            <p:nvPr/>
          </p:nvSpPr>
          <p:spPr>
            <a:xfrm>
              <a:off x="544285" y="367941"/>
              <a:ext cx="7728857" cy="6400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sp3d extrusionH="355600" prstMaterial="metal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D37693B8-9AFD-4560-87FE-1FC9DE060826}"/>
              </a:ext>
            </a:extLst>
          </p:cNvPr>
          <p:cNvGrpSpPr/>
          <p:nvPr/>
        </p:nvGrpSpPr>
        <p:grpSpPr>
          <a:xfrm>
            <a:off x="955851" y="1671083"/>
            <a:ext cx="1741661" cy="977179"/>
            <a:chOff x="625717" y="1061837"/>
            <a:chExt cx="2211267" cy="1240657"/>
          </a:xfrm>
          <a:solidFill>
            <a:schemeClr val="accent2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B09E955E-11AF-4EF0-935D-E3A6F924BCD7}"/>
                </a:ext>
              </a:extLst>
            </p:cNvPr>
            <p:cNvSpPr/>
            <p:nvPr/>
          </p:nvSpPr>
          <p:spPr>
            <a:xfrm>
              <a:off x="62571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ild Campus Intelligence</a:t>
              </a:r>
            </a:p>
          </p:txBody>
        </p:sp>
        <p:sp>
          <p:nvSpPr>
            <p:cNvPr id="96" name="Isosceles Triangle 95">
              <a:extLst>
                <a:ext uri="{FF2B5EF4-FFF2-40B4-BE49-F238E27FC236}">
                  <a16:creationId xmlns:a16="http://schemas.microsoft.com/office/drawing/2014/main" id="{CB11ADDE-9D9A-4A59-890C-00DB2FAD2B01}"/>
                </a:ext>
              </a:extLst>
            </p:cNvPr>
            <p:cNvSpPr/>
            <p:nvPr/>
          </p:nvSpPr>
          <p:spPr>
            <a:xfrm flipV="1">
              <a:off x="158481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85BF85E1-188A-4162-A528-FD8D0AC8B3AF}"/>
              </a:ext>
            </a:extLst>
          </p:cNvPr>
          <p:cNvGrpSpPr/>
          <p:nvPr/>
        </p:nvGrpSpPr>
        <p:grpSpPr>
          <a:xfrm>
            <a:off x="3807671" y="1671083"/>
            <a:ext cx="1741661" cy="977179"/>
            <a:chOff x="3325562" y="1061837"/>
            <a:chExt cx="2211267" cy="1240657"/>
          </a:xfrm>
          <a:solidFill>
            <a:srgbClr val="EE4F85"/>
          </a:solidFill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5E11C0A-DDB8-4298-9513-102304B29977}"/>
                </a:ext>
              </a:extLst>
            </p:cNvPr>
            <p:cNvSpPr/>
            <p:nvPr/>
          </p:nvSpPr>
          <p:spPr>
            <a:xfrm>
              <a:off x="3325562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 in your Brand </a:t>
              </a:r>
            </a:p>
          </p:txBody>
        </p:sp>
        <p:sp>
          <p:nvSpPr>
            <p:cNvPr id="99" name="Isosceles Triangle 98">
              <a:extLst>
                <a:ext uri="{FF2B5EF4-FFF2-40B4-BE49-F238E27FC236}">
                  <a16:creationId xmlns:a16="http://schemas.microsoft.com/office/drawing/2014/main" id="{C7BAA2D8-6D5E-47E5-BB76-E247DF5AC9B4}"/>
                </a:ext>
              </a:extLst>
            </p:cNvPr>
            <p:cNvSpPr/>
            <p:nvPr/>
          </p:nvSpPr>
          <p:spPr>
            <a:xfrm flipV="1">
              <a:off x="4284657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D36205D-6DE6-4B55-BAB0-B059976E751E}"/>
              </a:ext>
            </a:extLst>
          </p:cNvPr>
          <p:cNvGrpSpPr/>
          <p:nvPr/>
        </p:nvGrpSpPr>
        <p:grpSpPr>
          <a:xfrm>
            <a:off x="6799013" y="1671083"/>
            <a:ext cx="1741661" cy="977179"/>
            <a:chOff x="6025407" y="1061837"/>
            <a:chExt cx="2211267" cy="1240657"/>
          </a:xfrm>
          <a:solidFill>
            <a:schemeClr val="accent5"/>
          </a:solidFill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AC7C3CBA-E86C-4199-9259-F97401E92CDD}"/>
                </a:ext>
              </a:extLst>
            </p:cNvPr>
            <p:cNvSpPr/>
            <p:nvPr/>
          </p:nvSpPr>
          <p:spPr>
            <a:xfrm>
              <a:off x="602540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ss for Skills &amp; Fitment</a:t>
              </a:r>
            </a:p>
          </p:txBody>
        </p:sp>
        <p:sp>
          <p:nvSpPr>
            <p:cNvPr id="102" name="Isosceles Triangle 101">
              <a:extLst>
                <a:ext uri="{FF2B5EF4-FFF2-40B4-BE49-F238E27FC236}">
                  <a16:creationId xmlns:a16="http://schemas.microsoft.com/office/drawing/2014/main" id="{70DF8B36-94EB-4B76-8A31-4E6A149C4BEE}"/>
                </a:ext>
              </a:extLst>
            </p:cNvPr>
            <p:cNvSpPr/>
            <p:nvPr/>
          </p:nvSpPr>
          <p:spPr>
            <a:xfrm flipV="1">
              <a:off x="698450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A04E0E4B-9CBD-4820-99C3-8B3DA3D43062}"/>
              </a:ext>
            </a:extLst>
          </p:cNvPr>
          <p:cNvGrpSpPr/>
          <p:nvPr/>
        </p:nvGrpSpPr>
        <p:grpSpPr>
          <a:xfrm>
            <a:off x="870924" y="3628526"/>
            <a:ext cx="2396741" cy="925907"/>
            <a:chOff x="544286" y="2286001"/>
            <a:chExt cx="7728857" cy="2551606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Right">
              <a:rot lat="1181010" lon="17962333" rev="0"/>
            </a:camera>
            <a:lightRig rig="chilly" dir="t"/>
          </a:scene3d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54299CE-DE49-48A2-B48F-50904D0ADF99}"/>
                </a:ext>
              </a:extLst>
            </p:cNvPr>
            <p:cNvSpPr/>
            <p:nvPr/>
          </p:nvSpPr>
          <p:spPr>
            <a:xfrm>
              <a:off x="544286" y="4197527"/>
              <a:ext cx="7728857" cy="6400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sp3d extrusionH="355600" prstMaterial="metal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26F266EF-90A9-46C3-890C-E1E3AC1F939F}"/>
                </a:ext>
              </a:extLst>
            </p:cNvPr>
            <p:cNvSpPr/>
            <p:nvPr/>
          </p:nvSpPr>
          <p:spPr>
            <a:xfrm>
              <a:off x="751114" y="2286001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2AB81FA-8ABE-40BD-9AE0-0725F72478CC}"/>
                </a:ext>
              </a:extLst>
            </p:cNvPr>
            <p:cNvSpPr/>
            <p:nvPr/>
          </p:nvSpPr>
          <p:spPr>
            <a:xfrm>
              <a:off x="7511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4CE3F02-96D0-4B86-B5DB-FB0E4045C718}"/>
                </a:ext>
              </a:extLst>
            </p:cNvPr>
            <p:cNvSpPr/>
            <p:nvPr/>
          </p:nvSpPr>
          <p:spPr>
            <a:xfrm>
              <a:off x="16655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149AA83-48C1-4FC6-9162-672AC6912564}"/>
                </a:ext>
              </a:extLst>
            </p:cNvPr>
            <p:cNvSpPr/>
            <p:nvPr/>
          </p:nvSpPr>
          <p:spPr>
            <a:xfrm>
              <a:off x="34943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8EA8C09-5234-474C-AC7F-EAF6E499F0D0}"/>
                </a:ext>
              </a:extLst>
            </p:cNvPr>
            <p:cNvSpPr/>
            <p:nvPr/>
          </p:nvSpPr>
          <p:spPr>
            <a:xfrm>
              <a:off x="5323114" y="3559627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61F9B24-048C-49D2-ADBD-536AE15381CE}"/>
                </a:ext>
              </a:extLst>
            </p:cNvPr>
            <p:cNvSpPr/>
            <p:nvPr/>
          </p:nvSpPr>
          <p:spPr>
            <a:xfrm>
              <a:off x="7151914" y="3559627"/>
              <a:ext cx="9144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6C474F0C-E995-44EF-A36B-8DF15635D36A}"/>
                </a:ext>
              </a:extLst>
            </p:cNvPr>
            <p:cNvSpPr/>
            <p:nvPr/>
          </p:nvSpPr>
          <p:spPr>
            <a:xfrm>
              <a:off x="7511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277F1484-482F-48CA-9A58-1AD08CE7A8AD}"/>
                </a:ext>
              </a:extLst>
            </p:cNvPr>
            <p:cNvSpPr/>
            <p:nvPr/>
          </p:nvSpPr>
          <p:spPr>
            <a:xfrm>
              <a:off x="2579914" y="2923901"/>
              <a:ext cx="1828800" cy="64008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21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accent3">
                  <a:lumMod val="50000"/>
                </a:schemeClr>
              </a:solidFill>
            </a:ln>
            <a:sp3d extrusionH="355600" prstMaterial="metal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18"/>
            </a:p>
          </p:txBody>
        </p:sp>
      </p:grpSp>
    </p:spTree>
    <p:extLst>
      <p:ext uri="{BB962C8B-B14F-4D97-AF65-F5344CB8AC3E}">
        <p14:creationId xmlns:p14="http://schemas.microsoft.com/office/powerpoint/2010/main" val="483648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6B17A26A-1EB5-A940-9D1B-EFBE3FF61992}"/>
              </a:ext>
            </a:extLst>
          </p:cNvPr>
          <p:cNvSpPr/>
          <p:nvPr/>
        </p:nvSpPr>
        <p:spPr>
          <a:xfrm>
            <a:off x="1374667" y="362596"/>
            <a:ext cx="4051109" cy="362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srgbClr val="FDBB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MPUS HIRING </a:t>
            </a: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EST PRACTICES</a:t>
            </a:r>
            <a:endParaRPr kumimoji="0" lang="en-AU" sz="175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65BDA7B-F17A-F742-B660-F95E4CD59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29" y="232826"/>
            <a:ext cx="607946" cy="620353"/>
          </a:xfrm>
          <a:prstGeom prst="rect">
            <a:avLst/>
          </a:prstGeom>
        </p:spPr>
      </p:pic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marL="0" marR="0" lvl="0" indent="0" algn="r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AF6D7-C208-42D9-801C-0DD95437C26D}" type="slidenum">
              <a:rPr kumimoji="0" lang="en-US" sz="117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46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7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260B5675-5E6D-424C-9EB2-1508038954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7440743"/>
              </p:ext>
            </p:extLst>
          </p:nvPr>
        </p:nvGraphicFramePr>
        <p:xfrm>
          <a:off x="643755" y="2883451"/>
          <a:ext cx="8121100" cy="328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362F616-FF49-42C6-8059-0E14F8BF93B2}"/>
              </a:ext>
            </a:extLst>
          </p:cNvPr>
          <p:cNvGrpSpPr/>
          <p:nvPr/>
        </p:nvGrpSpPr>
        <p:grpSpPr>
          <a:xfrm>
            <a:off x="643755" y="1671083"/>
            <a:ext cx="1741661" cy="977179"/>
            <a:chOff x="625717" y="1061837"/>
            <a:chExt cx="2211267" cy="1240657"/>
          </a:xfrm>
          <a:solidFill>
            <a:schemeClr val="accent2"/>
          </a:solidFill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1496D90D-070D-44E0-9A82-AB8F5FC929D6}"/>
                </a:ext>
              </a:extLst>
            </p:cNvPr>
            <p:cNvSpPr/>
            <p:nvPr/>
          </p:nvSpPr>
          <p:spPr>
            <a:xfrm>
              <a:off x="62571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ild Campus Intelligence</a:t>
              </a:r>
            </a:p>
          </p:txBody>
        </p:sp>
        <p:sp>
          <p:nvSpPr>
            <p:cNvPr id="122" name="Isosceles Triangle 121">
              <a:extLst>
                <a:ext uri="{FF2B5EF4-FFF2-40B4-BE49-F238E27FC236}">
                  <a16:creationId xmlns:a16="http://schemas.microsoft.com/office/drawing/2014/main" id="{8AAB1C0C-2DB7-410D-9D31-2A9F653214C9}"/>
                </a:ext>
              </a:extLst>
            </p:cNvPr>
            <p:cNvSpPr/>
            <p:nvPr/>
          </p:nvSpPr>
          <p:spPr>
            <a:xfrm flipV="1">
              <a:off x="158481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E1A8EA7A-780D-4A42-B124-765DB3E05A09}"/>
              </a:ext>
            </a:extLst>
          </p:cNvPr>
          <p:cNvGrpSpPr/>
          <p:nvPr/>
        </p:nvGrpSpPr>
        <p:grpSpPr>
          <a:xfrm>
            <a:off x="3595285" y="1671083"/>
            <a:ext cx="1741661" cy="977179"/>
            <a:chOff x="3325562" y="1061837"/>
            <a:chExt cx="2211267" cy="1240657"/>
          </a:xfrm>
          <a:solidFill>
            <a:schemeClr val="bg2"/>
          </a:solidFill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9E806B7A-7894-4827-BC5E-25D387320287}"/>
                </a:ext>
              </a:extLst>
            </p:cNvPr>
            <p:cNvSpPr/>
            <p:nvPr/>
          </p:nvSpPr>
          <p:spPr>
            <a:xfrm>
              <a:off x="3325562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 in your Brand </a:t>
              </a:r>
            </a:p>
          </p:txBody>
        </p:sp>
        <p:sp>
          <p:nvSpPr>
            <p:cNvPr id="125" name="Isosceles Triangle 124">
              <a:extLst>
                <a:ext uri="{FF2B5EF4-FFF2-40B4-BE49-F238E27FC236}">
                  <a16:creationId xmlns:a16="http://schemas.microsoft.com/office/drawing/2014/main" id="{ABFCAF55-638F-476F-941B-F50FC1B06F96}"/>
                </a:ext>
              </a:extLst>
            </p:cNvPr>
            <p:cNvSpPr/>
            <p:nvPr/>
          </p:nvSpPr>
          <p:spPr>
            <a:xfrm flipV="1">
              <a:off x="4284657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E84E714-1C98-4F79-A52E-4FFB9A1477C6}"/>
              </a:ext>
            </a:extLst>
          </p:cNvPr>
          <p:cNvGrpSpPr/>
          <p:nvPr/>
        </p:nvGrpSpPr>
        <p:grpSpPr>
          <a:xfrm>
            <a:off x="6546817" y="1671083"/>
            <a:ext cx="1741661" cy="977179"/>
            <a:chOff x="6025407" y="1061837"/>
            <a:chExt cx="2211267" cy="1240657"/>
          </a:xfrm>
          <a:solidFill>
            <a:schemeClr val="bg2"/>
          </a:solidFill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D956D85E-B7B5-4B8D-A258-3213DAA9C602}"/>
                </a:ext>
              </a:extLst>
            </p:cNvPr>
            <p:cNvSpPr/>
            <p:nvPr/>
          </p:nvSpPr>
          <p:spPr>
            <a:xfrm>
              <a:off x="602540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ss for Skills &amp; Fitment</a:t>
              </a:r>
            </a:p>
          </p:txBody>
        </p:sp>
        <p:sp>
          <p:nvSpPr>
            <p:cNvPr id="128" name="Isosceles Triangle 127">
              <a:extLst>
                <a:ext uri="{FF2B5EF4-FFF2-40B4-BE49-F238E27FC236}">
                  <a16:creationId xmlns:a16="http://schemas.microsoft.com/office/drawing/2014/main" id="{CF0E50BC-EAB1-4125-B8CF-6A64B08164A9}"/>
                </a:ext>
              </a:extLst>
            </p:cNvPr>
            <p:cNvSpPr/>
            <p:nvPr/>
          </p:nvSpPr>
          <p:spPr>
            <a:xfrm flipV="1">
              <a:off x="698450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053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6B17A26A-1EB5-A940-9D1B-EFBE3FF61992}"/>
              </a:ext>
            </a:extLst>
          </p:cNvPr>
          <p:cNvSpPr/>
          <p:nvPr/>
        </p:nvSpPr>
        <p:spPr>
          <a:xfrm>
            <a:off x="1374667" y="362596"/>
            <a:ext cx="4051109" cy="362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srgbClr val="FDBB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MPUS HIRING </a:t>
            </a: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EST PRACTICES</a:t>
            </a:r>
            <a:endParaRPr kumimoji="0" lang="en-AU" sz="175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65BDA7B-F17A-F742-B660-F95E4CD59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29" y="232826"/>
            <a:ext cx="607946" cy="620353"/>
          </a:xfrm>
          <a:prstGeom prst="rect">
            <a:avLst/>
          </a:prstGeom>
        </p:spPr>
      </p:pic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marL="0" marR="0" lvl="0" indent="0" algn="r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AF6D7-C208-42D9-801C-0DD95437C26D}" type="slidenum">
              <a:rPr kumimoji="0" lang="en-US" sz="117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46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7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Picture 1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BA285BAD-B3DA-4969-AC97-BCBBA6E9555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3" t="7829" b="10310"/>
          <a:stretch/>
        </p:blipFill>
        <p:spPr>
          <a:xfrm>
            <a:off x="1874044" y="2827070"/>
            <a:ext cx="5854699" cy="3668334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/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FBF154C-1464-4A23-9C13-8A05918B0E0A}"/>
              </a:ext>
            </a:extLst>
          </p:cNvPr>
          <p:cNvGrpSpPr/>
          <p:nvPr/>
        </p:nvGrpSpPr>
        <p:grpSpPr>
          <a:xfrm>
            <a:off x="643755" y="1671083"/>
            <a:ext cx="1741661" cy="977179"/>
            <a:chOff x="625717" y="1061837"/>
            <a:chExt cx="2211267" cy="1240657"/>
          </a:xfrm>
          <a:solidFill>
            <a:schemeClr val="bg2"/>
          </a:solidFill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4EF9619-DB70-4F61-A347-98ED8C903644}"/>
                </a:ext>
              </a:extLst>
            </p:cNvPr>
            <p:cNvSpPr/>
            <p:nvPr/>
          </p:nvSpPr>
          <p:spPr>
            <a:xfrm>
              <a:off x="62571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ild Campus Intelligence</a:t>
              </a: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FCD3D561-4E67-4200-9EF8-BAA68C13825D}"/>
                </a:ext>
              </a:extLst>
            </p:cNvPr>
            <p:cNvSpPr/>
            <p:nvPr/>
          </p:nvSpPr>
          <p:spPr>
            <a:xfrm flipV="1">
              <a:off x="158481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A24E6D0-19F5-4EAD-A788-CF032E157BF9}"/>
              </a:ext>
            </a:extLst>
          </p:cNvPr>
          <p:cNvGrpSpPr/>
          <p:nvPr/>
        </p:nvGrpSpPr>
        <p:grpSpPr>
          <a:xfrm>
            <a:off x="3595285" y="1671083"/>
            <a:ext cx="1741661" cy="977179"/>
            <a:chOff x="3325562" y="1061837"/>
            <a:chExt cx="2211267" cy="1240657"/>
          </a:xfrm>
          <a:solidFill>
            <a:srgbClr val="EE4F85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D5A6F01-C2E0-43F6-AC19-491F0E89B552}"/>
                </a:ext>
              </a:extLst>
            </p:cNvPr>
            <p:cNvSpPr/>
            <p:nvPr/>
          </p:nvSpPr>
          <p:spPr>
            <a:xfrm>
              <a:off x="3325562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 in your Brand </a:t>
              </a:r>
            </a:p>
          </p:txBody>
        </p:sp>
        <p:sp>
          <p:nvSpPr>
            <p:cNvPr id="36" name="Isosceles Triangle 35">
              <a:extLst>
                <a:ext uri="{FF2B5EF4-FFF2-40B4-BE49-F238E27FC236}">
                  <a16:creationId xmlns:a16="http://schemas.microsoft.com/office/drawing/2014/main" id="{6F69F38E-FA34-4934-A2F4-FFBB46BA9D31}"/>
                </a:ext>
              </a:extLst>
            </p:cNvPr>
            <p:cNvSpPr/>
            <p:nvPr/>
          </p:nvSpPr>
          <p:spPr>
            <a:xfrm flipV="1">
              <a:off x="4284657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87ED09-B660-48B0-83CC-CE95C9C271B4}"/>
              </a:ext>
            </a:extLst>
          </p:cNvPr>
          <p:cNvGrpSpPr/>
          <p:nvPr/>
        </p:nvGrpSpPr>
        <p:grpSpPr>
          <a:xfrm>
            <a:off x="6546817" y="1671083"/>
            <a:ext cx="1741661" cy="977179"/>
            <a:chOff x="6025407" y="1061837"/>
            <a:chExt cx="2211267" cy="1240657"/>
          </a:xfrm>
          <a:solidFill>
            <a:schemeClr val="bg2"/>
          </a:solidFill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7109622-9C89-4D5C-B53B-BD393A225E9E}"/>
                </a:ext>
              </a:extLst>
            </p:cNvPr>
            <p:cNvSpPr/>
            <p:nvPr/>
          </p:nvSpPr>
          <p:spPr>
            <a:xfrm>
              <a:off x="602540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ss for Skills &amp; Fitment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A14EB610-0B4E-4910-B8F2-1721556BE952}"/>
                </a:ext>
              </a:extLst>
            </p:cNvPr>
            <p:cNvSpPr/>
            <p:nvPr/>
          </p:nvSpPr>
          <p:spPr>
            <a:xfrm flipV="1">
              <a:off x="698450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78208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6B17A26A-1EB5-A940-9D1B-EFBE3FF61992}"/>
              </a:ext>
            </a:extLst>
          </p:cNvPr>
          <p:cNvSpPr/>
          <p:nvPr/>
        </p:nvSpPr>
        <p:spPr>
          <a:xfrm>
            <a:off x="1374667" y="362596"/>
            <a:ext cx="4051109" cy="362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srgbClr val="FDBB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MPUS HIRING </a:t>
            </a:r>
            <a:r>
              <a:rPr kumimoji="0" lang="en-AU" sz="175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EST PRACTICES</a:t>
            </a:r>
            <a:endParaRPr kumimoji="0" lang="en-AU" sz="175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65BDA7B-F17A-F742-B660-F95E4CD59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29" y="232826"/>
            <a:ext cx="607946" cy="620353"/>
          </a:xfrm>
          <a:prstGeom prst="rect">
            <a:avLst/>
          </a:prstGeom>
        </p:spPr>
      </p:pic>
      <p:sp>
        <p:nvSpPr>
          <p:cNvPr id="5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73679" y="6404157"/>
            <a:ext cx="2009943" cy="365125"/>
          </a:xfrm>
        </p:spPr>
        <p:txBody>
          <a:bodyPr wrap="square">
            <a:noAutofit/>
          </a:bodyPr>
          <a:lstStyle/>
          <a:p>
            <a:pPr marL="0" marR="0" lvl="0" indent="0" algn="r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AF6D7-C208-42D9-801C-0DD95437C26D}" type="slidenum">
              <a:rPr kumimoji="0" lang="en-US" sz="117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46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7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E65C63-5DFE-4AC8-B698-3B43F6EE9F28}"/>
              </a:ext>
            </a:extLst>
          </p:cNvPr>
          <p:cNvGrpSpPr/>
          <p:nvPr/>
        </p:nvGrpSpPr>
        <p:grpSpPr>
          <a:xfrm>
            <a:off x="643755" y="2901969"/>
            <a:ext cx="8537124" cy="3102313"/>
            <a:chOff x="490999" y="1246179"/>
            <a:chExt cx="8537124" cy="3102313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88768C0-85D2-432E-A815-F82EE0D1BCC4}"/>
                </a:ext>
              </a:extLst>
            </p:cNvPr>
            <p:cNvSpPr/>
            <p:nvPr/>
          </p:nvSpPr>
          <p:spPr>
            <a:xfrm>
              <a:off x="4105452" y="1625462"/>
              <a:ext cx="1792829" cy="953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0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B8F7D2-3CD3-4397-90DD-934499F051DC}"/>
                </a:ext>
              </a:extLst>
            </p:cNvPr>
            <p:cNvSpPr/>
            <p:nvPr/>
          </p:nvSpPr>
          <p:spPr>
            <a:xfrm>
              <a:off x="833251" y="1625462"/>
              <a:ext cx="1908869" cy="953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0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DA9E14F-B38C-42BD-AAD3-4521AF649E17}"/>
                </a:ext>
              </a:extLst>
            </p:cNvPr>
            <p:cNvSpPr/>
            <p:nvPr/>
          </p:nvSpPr>
          <p:spPr>
            <a:xfrm>
              <a:off x="2198865" y="3394867"/>
              <a:ext cx="1792829" cy="953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80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648C0FE-3ADA-44AB-8B55-CCA72AFF5CCE}"/>
                </a:ext>
              </a:extLst>
            </p:cNvPr>
            <p:cNvSpPr/>
            <p:nvPr/>
          </p:nvSpPr>
          <p:spPr>
            <a:xfrm>
              <a:off x="880453" y="2123151"/>
              <a:ext cx="1907243" cy="388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lps predict c</a:t>
              </a:r>
              <a:r>
                <a:rPr kumimoji="0" lang="en-US" sz="84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ltural</a:t>
              </a:r>
              <a:r>
                <a:rPr kumimoji="0" lang="en-US" sz="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fitment &amp; personality relevant in workplace.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252958-BFA5-4A15-A024-E143639589DE}"/>
                </a:ext>
              </a:extLst>
            </p:cNvPr>
            <p:cNvSpPr/>
            <p:nvPr/>
          </p:nvSpPr>
          <p:spPr>
            <a:xfrm>
              <a:off x="878143" y="1644391"/>
              <a:ext cx="1763811" cy="4799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50" b="1" i="0" u="none" strike="noStrike" kern="1100" cap="none" spc="79" normalizeH="0" baseline="0" noProof="0" dirty="0">
                  <a:ln>
                    <a:noFill/>
                  </a:ln>
                  <a:solidFill>
                    <a:srgbClr val="00A8C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SONALITY TOOL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0B52513-4F48-4AEB-9BCB-877D7CC66C20}"/>
                </a:ext>
              </a:extLst>
            </p:cNvPr>
            <p:cNvSpPr/>
            <p:nvPr/>
          </p:nvSpPr>
          <p:spPr>
            <a:xfrm>
              <a:off x="4114420" y="2115953"/>
              <a:ext cx="1775478" cy="388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mulates work skills &amp; requires candidates to respond to them. 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94F3F6-D1A9-446F-AB79-E8BB15235047}"/>
                </a:ext>
              </a:extLst>
            </p:cNvPr>
            <p:cNvSpPr/>
            <p:nvPr/>
          </p:nvSpPr>
          <p:spPr>
            <a:xfrm>
              <a:off x="4124768" y="1657203"/>
              <a:ext cx="1561683" cy="4623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050" b="1" kern="1100" spc="79" dirty="0">
                  <a:solidFill>
                    <a:srgbClr val="E50E55"/>
                  </a:solidFill>
                  <a:latin typeface="Arial"/>
                </a:rPr>
                <a:t>SKILL TESTING</a:t>
              </a:r>
            </a:p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50" b="1" i="0" u="none" strike="noStrike" kern="1100" cap="none" spc="79" normalizeH="0" baseline="0" noProof="0" dirty="0">
                  <a:ln>
                    <a:noFill/>
                  </a:ln>
                  <a:solidFill>
                    <a:srgbClr val="E50E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T</a:t>
              </a:r>
              <a:r>
                <a:rPr lang="en-CA" sz="1050" b="1" kern="1100" spc="79" dirty="0">
                  <a:solidFill>
                    <a:srgbClr val="E50E55"/>
                  </a:solidFill>
                  <a:latin typeface="Arial"/>
                </a:rPr>
                <a:t>/NON-IT)</a:t>
              </a:r>
              <a:endParaRPr kumimoji="0" lang="en-CA" sz="1050" b="1" i="0" u="none" strike="noStrike" kern="1100" cap="none" spc="79" normalizeH="0" baseline="0" noProof="0" dirty="0">
                <a:ln>
                  <a:noFill/>
                </a:ln>
                <a:solidFill>
                  <a:srgbClr val="E50E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0F3C6A1-8665-47D0-BC8E-F1C267B9811A}"/>
                </a:ext>
              </a:extLst>
            </p:cNvPr>
            <p:cNvSpPr/>
            <p:nvPr/>
          </p:nvSpPr>
          <p:spPr>
            <a:xfrm>
              <a:off x="2198865" y="3945204"/>
              <a:ext cx="1783129" cy="388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asure IT skills </a:t>
              </a:r>
              <a:r>
                <a:rPr lang="en-US" sz="84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rPr>
                <a:t>collaborative coding interviews</a:t>
              </a:r>
              <a:endParaRPr kumimoji="0" lang="en-US" sz="84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1491D06-4823-463E-92E1-C7FC7047E6BC}"/>
                </a:ext>
              </a:extLst>
            </p:cNvPr>
            <p:cNvSpPr/>
            <p:nvPr/>
          </p:nvSpPr>
          <p:spPr>
            <a:xfrm>
              <a:off x="2227882" y="3424720"/>
              <a:ext cx="1289026" cy="4623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50" b="1" i="0" u="none" strike="noStrike" kern="1100" cap="none" spc="79" normalizeH="0" baseline="0" noProof="0" dirty="0">
                  <a:ln>
                    <a:noFill/>
                  </a:ln>
                  <a:solidFill>
                    <a:srgbClr val="F04E4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DING INTERVIEW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2C77213-2DD5-485B-9EEC-55C2F2B41FD6}"/>
                </a:ext>
              </a:extLst>
            </p:cNvPr>
            <p:cNvCxnSpPr>
              <a:cxnSpLocks/>
            </p:cNvCxnSpPr>
            <p:nvPr/>
          </p:nvCxnSpPr>
          <p:spPr>
            <a:xfrm>
              <a:off x="3991694" y="3866083"/>
              <a:ext cx="413777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C4525FB-0B7A-42BA-A5BF-746557BA9E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36700" y="3866083"/>
              <a:ext cx="418326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30AE9A8-F762-4167-9236-5C3976CB8904}"/>
                </a:ext>
              </a:extLst>
            </p:cNvPr>
            <p:cNvCxnSpPr>
              <a:cxnSpLocks/>
            </p:cNvCxnSpPr>
            <p:nvPr/>
          </p:nvCxnSpPr>
          <p:spPr>
            <a:xfrm>
              <a:off x="1746123" y="2579087"/>
              <a:ext cx="0" cy="308415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6444F47-6C34-426E-9A8E-521C4C5BD2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6123" y="3221085"/>
              <a:ext cx="0" cy="677581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086850-FF4C-4E41-9CA6-C56A7A562F4A}"/>
                </a:ext>
              </a:extLst>
            </p:cNvPr>
            <p:cNvCxnSpPr>
              <a:cxnSpLocks/>
            </p:cNvCxnSpPr>
            <p:nvPr/>
          </p:nvCxnSpPr>
          <p:spPr>
            <a:xfrm>
              <a:off x="2742120" y="2086099"/>
              <a:ext cx="413777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17B47F0-C13C-42B5-AAD7-10D9A5943C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87126" y="2086099"/>
              <a:ext cx="418326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1422BCA-D56E-4BEA-8159-F51E19E4BA89}"/>
                </a:ext>
              </a:extLst>
            </p:cNvPr>
            <p:cNvSpPr/>
            <p:nvPr/>
          </p:nvSpPr>
          <p:spPr>
            <a:xfrm>
              <a:off x="4507300" y="3631934"/>
              <a:ext cx="220782" cy="4092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90" b="1" i="0" u="none" strike="noStrike" kern="1100" cap="none" spc="79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73E8AB7-FC61-4ED8-B28A-59FF9143EEA9}"/>
                </a:ext>
              </a:extLst>
            </p:cNvPr>
            <p:cNvSpPr/>
            <p:nvPr/>
          </p:nvSpPr>
          <p:spPr>
            <a:xfrm>
              <a:off x="3284815" y="1881459"/>
              <a:ext cx="220782" cy="4092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90" b="1" i="0" u="none" strike="noStrike" kern="1100" cap="none" spc="79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C43C874-ECFB-4C54-AD7C-62A063A22AF8}"/>
                </a:ext>
              </a:extLst>
            </p:cNvPr>
            <p:cNvGrpSpPr/>
            <p:nvPr/>
          </p:nvGrpSpPr>
          <p:grpSpPr>
            <a:xfrm>
              <a:off x="5355026" y="3394867"/>
              <a:ext cx="1792829" cy="953625"/>
              <a:chOff x="5311685" y="3291895"/>
              <a:chExt cx="1792829" cy="953625"/>
            </a:xfrm>
            <a:solidFill>
              <a:schemeClr val="bg1">
                <a:lumMod val="95000"/>
              </a:schemeClr>
            </a:solidFill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577444AE-4A33-4FC4-94D0-8D0771AE61EB}"/>
                  </a:ext>
                </a:extLst>
              </p:cNvPr>
              <p:cNvSpPr/>
              <p:nvPr/>
            </p:nvSpPr>
            <p:spPr>
              <a:xfrm>
                <a:off x="5311685" y="3291895"/>
                <a:ext cx="1792829" cy="95362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801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3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569E863E-D7B9-4DCC-BC6A-FA08EFCB13BD}"/>
                  </a:ext>
                </a:extLst>
              </p:cNvPr>
              <p:cNvSpPr/>
              <p:nvPr/>
            </p:nvSpPr>
            <p:spPr>
              <a:xfrm>
                <a:off x="5331001" y="3321748"/>
                <a:ext cx="1411998" cy="462306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48014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50" b="1" i="0" u="none" strike="noStrike" kern="1100" cap="none" spc="79" normalizeH="0" baseline="0" noProof="0" dirty="0">
                    <a:ln>
                      <a:noFill/>
                    </a:ln>
                    <a:solidFill>
                      <a:srgbClr val="FBAE1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-RECORDED INTERVIEWS</a:t>
                </a:r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D725D73-A78B-4D3C-A46E-2B2BB30079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6219" y="1707161"/>
              <a:ext cx="208085" cy="288445"/>
            </a:xfrm>
            <a:prstGeom prst="rect">
              <a:avLst/>
            </a:prstGeom>
          </p:spPr>
        </p:pic>
        <p:sp>
          <p:nvSpPr>
            <p:cNvPr id="40" name="Title 9">
              <a:extLst>
                <a:ext uri="{FF2B5EF4-FFF2-40B4-BE49-F238E27FC236}">
                  <a16:creationId xmlns:a16="http://schemas.microsoft.com/office/drawing/2014/main" id="{97E858D5-4903-40E0-B36B-E9581305F20E}"/>
                </a:ext>
              </a:extLst>
            </p:cNvPr>
            <p:cNvSpPr txBox="1">
              <a:spLocks/>
            </p:cNvSpPr>
            <p:nvPr/>
          </p:nvSpPr>
          <p:spPr>
            <a:xfrm>
              <a:off x="490999" y="1246179"/>
              <a:ext cx="2626152" cy="22923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vert="horz" lIns="0" tIns="0" rIns="0" bIns="0" rtlCol="0" anchor="ctr" anchorCtr="0">
              <a:normAutofit fontScale="97500"/>
            </a:bodyPr>
            <a:lstStyle>
              <a:lvl1pPr algn="l" defTabSz="457189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 cap="all" spc="500">
                  <a:solidFill>
                    <a:srgbClr val="03316E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48012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all" spc="20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ASSESSMENTS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948ABE4-07C2-45E5-A5EF-15E1ABF7FE4E}"/>
                </a:ext>
              </a:extLst>
            </p:cNvPr>
            <p:cNvGrpSpPr/>
            <p:nvPr/>
          </p:nvGrpSpPr>
          <p:grpSpPr>
            <a:xfrm>
              <a:off x="7216036" y="1649412"/>
              <a:ext cx="1812087" cy="953625"/>
              <a:chOff x="5311685" y="3291895"/>
              <a:chExt cx="1812087" cy="953625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A180F75-98FC-4ACF-99CC-8B84B84C3712}"/>
                  </a:ext>
                </a:extLst>
              </p:cNvPr>
              <p:cNvSpPr/>
              <p:nvPr/>
            </p:nvSpPr>
            <p:spPr>
              <a:xfrm>
                <a:off x="5311685" y="3291895"/>
                <a:ext cx="1792829" cy="95362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801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3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B78D158-0EAC-4E9B-8EF2-A47B4048C5E0}"/>
                  </a:ext>
                </a:extLst>
              </p:cNvPr>
              <p:cNvSpPr/>
              <p:nvPr/>
            </p:nvSpPr>
            <p:spPr>
              <a:xfrm>
                <a:off x="5330943" y="3772354"/>
                <a:ext cx="1792829" cy="3883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48014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4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easure reasoning and logical thinking skills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BE80A525-D6F9-414D-8865-9C4501E94FB4}"/>
                  </a:ext>
                </a:extLst>
              </p:cNvPr>
              <p:cNvSpPr/>
              <p:nvPr/>
            </p:nvSpPr>
            <p:spPr>
              <a:xfrm>
                <a:off x="5331001" y="3321748"/>
                <a:ext cx="1377129" cy="4623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48014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50" b="1" i="0" u="none" strike="noStrike" kern="1100" cap="none" spc="79" normalizeH="0" baseline="0" noProof="0" dirty="0">
                    <a:ln>
                      <a:noFill/>
                    </a:ln>
                    <a:solidFill>
                      <a:srgbClr val="48A3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GNITIVE/ APTITUDE</a:t>
                </a:r>
              </a:p>
            </p:txBody>
          </p:sp>
        </p:grp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0F32DC9-F551-4E9E-B676-21BA07BFA96E}"/>
                </a:ext>
              </a:extLst>
            </p:cNvPr>
            <p:cNvCxnSpPr>
              <a:cxnSpLocks/>
            </p:cNvCxnSpPr>
            <p:nvPr/>
          </p:nvCxnSpPr>
          <p:spPr>
            <a:xfrm>
              <a:off x="5883240" y="2086099"/>
              <a:ext cx="413777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EA6FD15F-D951-4D2F-A1C7-8B6A6295525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8246" y="2086099"/>
              <a:ext cx="418326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C0ECAB4-66B3-41FC-B7F5-61AE4CCAE73E}"/>
                </a:ext>
              </a:extLst>
            </p:cNvPr>
            <p:cNvSpPr/>
            <p:nvPr/>
          </p:nvSpPr>
          <p:spPr>
            <a:xfrm>
              <a:off x="6425354" y="1908565"/>
              <a:ext cx="220782" cy="4092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90" b="1" i="0" u="none" strike="noStrike" kern="1100" cap="none" spc="79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CB29BCEB-1298-453E-978A-51FDFC24B7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54831" y="3888363"/>
              <a:ext cx="444034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36056B-BD94-4F75-A261-C9D48E9158AC}"/>
                </a:ext>
              </a:extLst>
            </p:cNvPr>
            <p:cNvCxnSpPr>
              <a:cxnSpLocks/>
            </p:cNvCxnSpPr>
            <p:nvPr/>
          </p:nvCxnSpPr>
          <p:spPr>
            <a:xfrm>
              <a:off x="8115020" y="2593989"/>
              <a:ext cx="0" cy="293513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3C75356-8244-4A2A-BC94-A9D1C0CA71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15019" y="3084681"/>
              <a:ext cx="0" cy="828888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5B948948-2E50-49E0-B13A-EE03994649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7855" y="3898513"/>
              <a:ext cx="967164" cy="0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230830F-1A73-4E50-8E05-67557C870CA7}"/>
                </a:ext>
              </a:extLst>
            </p:cNvPr>
            <p:cNvSpPr/>
            <p:nvPr/>
          </p:nvSpPr>
          <p:spPr>
            <a:xfrm>
              <a:off x="5374342" y="3937432"/>
              <a:ext cx="1783129" cy="388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8014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asure basic communication skills remotely</a:t>
              </a:r>
            </a:p>
          </p:txBody>
        </p:sp>
        <p:sp>
          <p:nvSpPr>
            <p:cNvPr id="56" name="Title 9">
              <a:extLst>
                <a:ext uri="{FF2B5EF4-FFF2-40B4-BE49-F238E27FC236}">
                  <a16:creationId xmlns:a16="http://schemas.microsoft.com/office/drawing/2014/main" id="{3A586A93-935C-4799-B535-7D4842450CDF}"/>
                </a:ext>
              </a:extLst>
            </p:cNvPr>
            <p:cNvSpPr txBox="1">
              <a:spLocks/>
            </p:cNvSpPr>
            <p:nvPr/>
          </p:nvSpPr>
          <p:spPr>
            <a:xfrm>
              <a:off x="490999" y="2942029"/>
              <a:ext cx="2626152" cy="22448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vert="horz" lIns="0" tIns="0" rIns="0" bIns="0" rtlCol="0" anchor="ctr" anchorCtr="0">
              <a:normAutofit fontScale="97500"/>
            </a:bodyPr>
            <a:lstStyle>
              <a:lvl1pPr algn="l" defTabSz="457189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 cap="all" spc="500">
                  <a:solidFill>
                    <a:srgbClr val="03316E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48012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all" spc="20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VIDEO INTERVIEWS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56E114C-8EDD-4831-AD8D-22D547685285}"/>
                </a:ext>
              </a:extLst>
            </p:cNvPr>
            <p:cNvGrpSpPr/>
            <p:nvPr/>
          </p:nvGrpSpPr>
          <p:grpSpPr>
            <a:xfrm>
              <a:off x="6804733" y="3456730"/>
              <a:ext cx="232305" cy="369134"/>
              <a:chOff x="6345783" y="1410449"/>
              <a:chExt cx="606425" cy="963613"/>
            </a:xfrm>
          </p:grpSpPr>
          <p:sp>
            <p:nvSpPr>
              <p:cNvPr id="58" name="Rectangle 93">
                <a:extLst>
                  <a:ext uri="{FF2B5EF4-FFF2-40B4-BE49-F238E27FC236}">
                    <a16:creationId xmlns:a16="http://schemas.microsoft.com/office/drawing/2014/main" id="{996BAA23-91C5-41F4-80BC-C1F2C8AF8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63246" y="1996236"/>
                <a:ext cx="571500" cy="44450"/>
              </a:xfrm>
              <a:prstGeom prst="rect">
                <a:avLst/>
              </a:prstGeom>
              <a:solidFill>
                <a:srgbClr val="FFD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94">
                <a:extLst>
                  <a:ext uri="{FF2B5EF4-FFF2-40B4-BE49-F238E27FC236}">
                    <a16:creationId xmlns:a16="http://schemas.microsoft.com/office/drawing/2014/main" id="{FA637751-44A1-4CC8-A756-BF944D64FB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5196" y="1804149"/>
                <a:ext cx="223838" cy="569913"/>
              </a:xfrm>
              <a:custGeom>
                <a:avLst/>
                <a:gdLst>
                  <a:gd name="T0" fmla="*/ 126 w 141"/>
                  <a:gd name="T1" fmla="*/ 359 h 359"/>
                  <a:gd name="T2" fmla="*/ 0 w 141"/>
                  <a:gd name="T3" fmla="*/ 5 h 359"/>
                  <a:gd name="T4" fmla="*/ 15 w 141"/>
                  <a:gd name="T5" fmla="*/ 0 h 359"/>
                  <a:gd name="T6" fmla="*/ 141 w 141"/>
                  <a:gd name="T7" fmla="*/ 354 h 359"/>
                  <a:gd name="T8" fmla="*/ 126 w 141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359">
                    <a:moveTo>
                      <a:pt x="126" y="359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41" y="354"/>
                    </a:lnTo>
                    <a:lnTo>
                      <a:pt x="126" y="359"/>
                    </a:lnTo>
                    <a:close/>
                  </a:path>
                </a:pathLst>
              </a:custGeom>
              <a:solidFill>
                <a:srgbClr val="FFDDA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95">
                <a:extLst>
                  <a:ext uri="{FF2B5EF4-FFF2-40B4-BE49-F238E27FC236}">
                    <a16:creationId xmlns:a16="http://schemas.microsoft.com/office/drawing/2014/main" id="{CC35F687-BCC3-4092-81BD-3D9D39DE6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5196" y="1804149"/>
                <a:ext cx="223838" cy="569913"/>
              </a:xfrm>
              <a:custGeom>
                <a:avLst/>
                <a:gdLst>
                  <a:gd name="T0" fmla="*/ 126 w 141"/>
                  <a:gd name="T1" fmla="*/ 359 h 359"/>
                  <a:gd name="T2" fmla="*/ 0 w 141"/>
                  <a:gd name="T3" fmla="*/ 5 h 359"/>
                  <a:gd name="T4" fmla="*/ 15 w 141"/>
                  <a:gd name="T5" fmla="*/ 0 h 359"/>
                  <a:gd name="T6" fmla="*/ 141 w 141"/>
                  <a:gd name="T7" fmla="*/ 354 h 359"/>
                  <a:gd name="T8" fmla="*/ 126 w 141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359">
                    <a:moveTo>
                      <a:pt x="126" y="359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41" y="354"/>
                    </a:lnTo>
                    <a:lnTo>
                      <a:pt x="126" y="35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96">
                <a:extLst>
                  <a:ext uri="{FF2B5EF4-FFF2-40B4-BE49-F238E27FC236}">
                    <a16:creationId xmlns:a16="http://schemas.microsoft.com/office/drawing/2014/main" id="{5A8BB100-519E-4A88-A6CF-7857ECF7C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8958" y="1845424"/>
                <a:ext cx="207963" cy="528638"/>
              </a:xfrm>
              <a:custGeom>
                <a:avLst/>
                <a:gdLst>
                  <a:gd name="T0" fmla="*/ 14 w 131"/>
                  <a:gd name="T1" fmla="*/ 333 h 333"/>
                  <a:gd name="T2" fmla="*/ 0 w 131"/>
                  <a:gd name="T3" fmla="*/ 328 h 333"/>
                  <a:gd name="T4" fmla="*/ 117 w 131"/>
                  <a:gd name="T5" fmla="*/ 0 h 333"/>
                  <a:gd name="T6" fmla="*/ 131 w 131"/>
                  <a:gd name="T7" fmla="*/ 5 h 333"/>
                  <a:gd name="T8" fmla="*/ 14 w 131"/>
                  <a:gd name="T9" fmla="*/ 333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333">
                    <a:moveTo>
                      <a:pt x="14" y="333"/>
                    </a:moveTo>
                    <a:lnTo>
                      <a:pt x="0" y="328"/>
                    </a:lnTo>
                    <a:lnTo>
                      <a:pt x="117" y="0"/>
                    </a:lnTo>
                    <a:lnTo>
                      <a:pt x="131" y="5"/>
                    </a:lnTo>
                    <a:lnTo>
                      <a:pt x="14" y="333"/>
                    </a:lnTo>
                    <a:close/>
                  </a:path>
                </a:pathLst>
              </a:custGeom>
              <a:solidFill>
                <a:srgbClr val="FFDDA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97">
                <a:extLst>
                  <a:ext uri="{FF2B5EF4-FFF2-40B4-BE49-F238E27FC236}">
                    <a16:creationId xmlns:a16="http://schemas.microsoft.com/office/drawing/2014/main" id="{F175D57B-447A-4B46-9257-1EF811E2A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14071" y="1410449"/>
                <a:ext cx="69850" cy="119063"/>
              </a:xfrm>
              <a:prstGeom prst="rect">
                <a:avLst/>
              </a:prstGeom>
              <a:solidFill>
                <a:srgbClr val="8E550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98">
                <a:extLst>
                  <a:ext uri="{FF2B5EF4-FFF2-40B4-BE49-F238E27FC236}">
                    <a16:creationId xmlns:a16="http://schemas.microsoft.com/office/drawing/2014/main" id="{9BC9B512-7FE1-47D4-9291-DFAC28F97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14071" y="1410449"/>
                <a:ext cx="69850" cy="119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Rectangle 99">
                <a:extLst>
                  <a:ext uri="{FF2B5EF4-FFF2-40B4-BE49-F238E27FC236}">
                    <a16:creationId xmlns:a16="http://schemas.microsoft.com/office/drawing/2014/main" id="{07151D34-FCBD-4BC8-AF89-D2C382F830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14071" y="1937499"/>
                <a:ext cx="69850" cy="161925"/>
              </a:xfrm>
              <a:prstGeom prst="rect">
                <a:avLst/>
              </a:prstGeom>
              <a:solidFill>
                <a:srgbClr val="C983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 100">
                <a:extLst>
                  <a:ext uri="{FF2B5EF4-FFF2-40B4-BE49-F238E27FC236}">
                    <a16:creationId xmlns:a16="http://schemas.microsoft.com/office/drawing/2014/main" id="{D5FD5638-15D0-4195-8EE1-6BEC2FD43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7258" y="1815261"/>
                <a:ext cx="234950" cy="498475"/>
              </a:xfrm>
              <a:custGeom>
                <a:avLst/>
                <a:gdLst>
                  <a:gd name="T0" fmla="*/ 116 w 120"/>
                  <a:gd name="T1" fmla="*/ 226 h 254"/>
                  <a:gd name="T2" fmla="*/ 35 w 120"/>
                  <a:gd name="T3" fmla="*/ 0 h 254"/>
                  <a:gd name="T4" fmla="*/ 0 w 120"/>
                  <a:gd name="T5" fmla="*/ 25 h 254"/>
                  <a:gd name="T6" fmla="*/ 77 w 120"/>
                  <a:gd name="T7" fmla="*/ 240 h 254"/>
                  <a:gd name="T8" fmla="*/ 96 w 120"/>
                  <a:gd name="T9" fmla="*/ 254 h 254"/>
                  <a:gd name="T10" fmla="*/ 103 w 120"/>
                  <a:gd name="T11" fmla="*/ 253 h 254"/>
                  <a:gd name="T12" fmla="*/ 116 w 120"/>
                  <a:gd name="T13" fmla="*/ 22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254">
                    <a:moveTo>
                      <a:pt x="116" y="226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26" y="11"/>
                      <a:pt x="14" y="20"/>
                      <a:pt x="0" y="25"/>
                    </a:cubicBezTo>
                    <a:cubicBezTo>
                      <a:pt x="77" y="240"/>
                      <a:pt x="77" y="240"/>
                      <a:pt x="77" y="240"/>
                    </a:cubicBezTo>
                    <a:cubicBezTo>
                      <a:pt x="80" y="249"/>
                      <a:pt x="88" y="254"/>
                      <a:pt x="96" y="254"/>
                    </a:cubicBezTo>
                    <a:cubicBezTo>
                      <a:pt x="99" y="254"/>
                      <a:pt x="101" y="254"/>
                      <a:pt x="103" y="253"/>
                    </a:cubicBezTo>
                    <a:cubicBezTo>
                      <a:pt x="114" y="249"/>
                      <a:pt x="120" y="237"/>
                      <a:pt x="116" y="226"/>
                    </a:cubicBezTo>
                  </a:path>
                </a:pathLst>
              </a:custGeom>
              <a:solidFill>
                <a:srgbClr val="C983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Freeform 101">
                <a:extLst>
                  <a:ext uri="{FF2B5EF4-FFF2-40B4-BE49-F238E27FC236}">
                    <a16:creationId xmlns:a16="http://schemas.microsoft.com/office/drawing/2014/main" id="{294BFFE1-BD85-4CCF-9546-A6C9D14C3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783" y="1824786"/>
                <a:ext cx="234950" cy="498475"/>
              </a:xfrm>
              <a:custGeom>
                <a:avLst/>
                <a:gdLst>
                  <a:gd name="T0" fmla="*/ 4 w 120"/>
                  <a:gd name="T1" fmla="*/ 226 h 254"/>
                  <a:gd name="T2" fmla="*/ 84 w 120"/>
                  <a:gd name="T3" fmla="*/ 0 h 254"/>
                  <a:gd name="T4" fmla="*/ 120 w 120"/>
                  <a:gd name="T5" fmla="*/ 25 h 254"/>
                  <a:gd name="T6" fmla="*/ 43 w 120"/>
                  <a:gd name="T7" fmla="*/ 240 h 254"/>
                  <a:gd name="T8" fmla="*/ 24 w 120"/>
                  <a:gd name="T9" fmla="*/ 254 h 254"/>
                  <a:gd name="T10" fmla="*/ 17 w 120"/>
                  <a:gd name="T11" fmla="*/ 253 h 254"/>
                  <a:gd name="T12" fmla="*/ 4 w 120"/>
                  <a:gd name="T13" fmla="*/ 22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254">
                    <a:moveTo>
                      <a:pt x="4" y="226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94" y="11"/>
                      <a:pt x="106" y="20"/>
                      <a:pt x="120" y="25"/>
                    </a:cubicBezTo>
                    <a:cubicBezTo>
                      <a:pt x="43" y="240"/>
                      <a:pt x="43" y="240"/>
                      <a:pt x="43" y="240"/>
                    </a:cubicBezTo>
                    <a:cubicBezTo>
                      <a:pt x="40" y="249"/>
                      <a:pt x="32" y="254"/>
                      <a:pt x="24" y="254"/>
                    </a:cubicBezTo>
                    <a:cubicBezTo>
                      <a:pt x="21" y="254"/>
                      <a:pt x="19" y="254"/>
                      <a:pt x="17" y="253"/>
                    </a:cubicBezTo>
                    <a:cubicBezTo>
                      <a:pt x="6" y="249"/>
                      <a:pt x="0" y="237"/>
                      <a:pt x="4" y="226"/>
                    </a:cubicBezTo>
                    <a:close/>
                  </a:path>
                </a:pathLst>
              </a:custGeom>
              <a:solidFill>
                <a:srgbClr val="C983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02">
                <a:extLst>
                  <a:ext uri="{FF2B5EF4-FFF2-40B4-BE49-F238E27FC236}">
                    <a16:creationId xmlns:a16="http://schemas.microsoft.com/office/drawing/2014/main" id="{A1706BB5-AEFA-4E13-8876-E1DB6847B5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846" y="1519986"/>
                <a:ext cx="368300" cy="368300"/>
              </a:xfrm>
              <a:custGeom>
                <a:avLst/>
                <a:gdLst>
                  <a:gd name="T0" fmla="*/ 94 w 188"/>
                  <a:gd name="T1" fmla="*/ 188 h 188"/>
                  <a:gd name="T2" fmla="*/ 0 w 188"/>
                  <a:gd name="T3" fmla="*/ 94 h 188"/>
                  <a:gd name="T4" fmla="*/ 94 w 188"/>
                  <a:gd name="T5" fmla="*/ 0 h 188"/>
                  <a:gd name="T6" fmla="*/ 188 w 188"/>
                  <a:gd name="T7" fmla="*/ 94 h 188"/>
                  <a:gd name="T8" fmla="*/ 94 w 188"/>
                  <a:gd name="T9" fmla="*/ 188 h 188"/>
                  <a:gd name="T10" fmla="*/ 94 w 188"/>
                  <a:gd name="T11" fmla="*/ 37 h 188"/>
                  <a:gd name="T12" fmla="*/ 37 w 188"/>
                  <a:gd name="T13" fmla="*/ 94 h 188"/>
                  <a:gd name="T14" fmla="*/ 94 w 188"/>
                  <a:gd name="T15" fmla="*/ 151 h 188"/>
                  <a:gd name="T16" fmla="*/ 151 w 188"/>
                  <a:gd name="T17" fmla="*/ 94 h 188"/>
                  <a:gd name="T18" fmla="*/ 94 w 188"/>
                  <a:gd name="T19" fmla="*/ 3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8">
                    <a:moveTo>
                      <a:pt x="94" y="188"/>
                    </a:moveTo>
                    <a:cubicBezTo>
                      <a:pt x="42" y="188"/>
                      <a:pt x="0" y="146"/>
                      <a:pt x="0" y="94"/>
                    </a:cubicBezTo>
                    <a:cubicBezTo>
                      <a:pt x="0" y="42"/>
                      <a:pt x="42" y="0"/>
                      <a:pt x="94" y="0"/>
                    </a:cubicBezTo>
                    <a:cubicBezTo>
                      <a:pt x="146" y="0"/>
                      <a:pt x="188" y="42"/>
                      <a:pt x="188" y="94"/>
                    </a:cubicBezTo>
                    <a:cubicBezTo>
                      <a:pt x="188" y="146"/>
                      <a:pt x="146" y="188"/>
                      <a:pt x="94" y="188"/>
                    </a:cubicBezTo>
                    <a:moveTo>
                      <a:pt x="94" y="37"/>
                    </a:moveTo>
                    <a:cubicBezTo>
                      <a:pt x="62" y="37"/>
                      <a:pt x="37" y="63"/>
                      <a:pt x="37" y="94"/>
                    </a:cubicBezTo>
                    <a:cubicBezTo>
                      <a:pt x="37" y="126"/>
                      <a:pt x="62" y="151"/>
                      <a:pt x="94" y="151"/>
                    </a:cubicBezTo>
                    <a:cubicBezTo>
                      <a:pt x="125" y="151"/>
                      <a:pt x="151" y="126"/>
                      <a:pt x="151" y="94"/>
                    </a:cubicBezTo>
                    <a:cubicBezTo>
                      <a:pt x="151" y="63"/>
                      <a:pt x="125" y="37"/>
                      <a:pt x="94" y="37"/>
                    </a:cubicBezTo>
                  </a:path>
                </a:pathLst>
              </a:custGeom>
              <a:solidFill>
                <a:srgbClr val="FBAE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103">
                <a:extLst>
                  <a:ext uri="{FF2B5EF4-FFF2-40B4-BE49-F238E27FC236}">
                    <a16:creationId xmlns:a16="http://schemas.microsoft.com/office/drawing/2014/main" id="{5EA3F053-AD82-4ABC-B1E0-2CF7F099C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996" y="1519986"/>
                <a:ext cx="184150" cy="368300"/>
              </a:xfrm>
              <a:custGeom>
                <a:avLst/>
                <a:gdLst>
                  <a:gd name="T0" fmla="*/ 0 w 94"/>
                  <a:gd name="T1" fmla="*/ 0 h 188"/>
                  <a:gd name="T2" fmla="*/ 0 w 94"/>
                  <a:gd name="T3" fmla="*/ 37 h 188"/>
                  <a:gd name="T4" fmla="*/ 57 w 94"/>
                  <a:gd name="T5" fmla="*/ 94 h 188"/>
                  <a:gd name="T6" fmla="*/ 57 w 94"/>
                  <a:gd name="T7" fmla="*/ 94 h 188"/>
                  <a:gd name="T8" fmla="*/ 57 w 94"/>
                  <a:gd name="T9" fmla="*/ 94 h 188"/>
                  <a:gd name="T10" fmla="*/ 0 w 94"/>
                  <a:gd name="T11" fmla="*/ 151 h 188"/>
                  <a:gd name="T12" fmla="*/ 0 w 94"/>
                  <a:gd name="T13" fmla="*/ 188 h 188"/>
                  <a:gd name="T14" fmla="*/ 94 w 94"/>
                  <a:gd name="T15" fmla="*/ 94 h 188"/>
                  <a:gd name="T16" fmla="*/ 0 w 94"/>
                  <a:gd name="T17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188">
                    <a:moveTo>
                      <a:pt x="0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31" y="37"/>
                      <a:pt x="57" y="63"/>
                      <a:pt x="57" y="94"/>
                    </a:cubicBezTo>
                    <a:cubicBezTo>
                      <a:pt x="57" y="94"/>
                      <a:pt x="57" y="94"/>
                      <a:pt x="57" y="94"/>
                    </a:cubicBezTo>
                    <a:cubicBezTo>
                      <a:pt x="57" y="94"/>
                      <a:pt x="57" y="94"/>
                      <a:pt x="57" y="94"/>
                    </a:cubicBezTo>
                    <a:cubicBezTo>
                      <a:pt x="57" y="126"/>
                      <a:pt x="31" y="151"/>
                      <a:pt x="0" y="151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52" y="188"/>
                      <a:pt x="94" y="146"/>
                      <a:pt x="94" y="94"/>
                    </a:cubicBezTo>
                    <a:cubicBezTo>
                      <a:pt x="94" y="42"/>
                      <a:pt x="52" y="0"/>
                      <a:pt x="0" y="0"/>
                    </a:cubicBezTo>
                  </a:path>
                </a:pathLst>
              </a:custGeom>
              <a:solidFill>
                <a:srgbClr val="8E5501">
                  <a:alpha val="50196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A21344D-D9B7-4C4B-8381-0DB304C9C4E0}"/>
                </a:ext>
              </a:extLst>
            </p:cNvPr>
            <p:cNvGrpSpPr/>
            <p:nvPr/>
          </p:nvGrpSpPr>
          <p:grpSpPr>
            <a:xfrm>
              <a:off x="2397911" y="1699977"/>
              <a:ext cx="238334" cy="310439"/>
              <a:chOff x="6449940" y="4905547"/>
              <a:chExt cx="687388" cy="895350"/>
            </a:xfrm>
          </p:grpSpPr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DC14AA5B-26E6-4E42-87DE-119FA818E1C2}"/>
                  </a:ext>
                </a:extLst>
              </p:cNvPr>
              <p:cNvGrpSpPr/>
              <p:nvPr/>
            </p:nvGrpSpPr>
            <p:grpSpPr>
              <a:xfrm>
                <a:off x="6449940" y="4905547"/>
                <a:ext cx="687388" cy="895350"/>
                <a:chOff x="6753226" y="3189288"/>
                <a:chExt cx="687388" cy="895350"/>
              </a:xfrm>
            </p:grpSpPr>
            <p:sp>
              <p:nvSpPr>
                <p:cNvPr id="81" name="Freeform 623">
                  <a:extLst>
                    <a:ext uri="{FF2B5EF4-FFF2-40B4-BE49-F238E27FC236}">
                      <a16:creationId xmlns:a16="http://schemas.microsoft.com/office/drawing/2014/main" id="{C4B09CEA-F09F-48F0-BB2B-3EE1244B5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3226" y="3830638"/>
                  <a:ext cx="687388" cy="254000"/>
                </a:xfrm>
                <a:custGeom>
                  <a:avLst/>
                  <a:gdLst>
                    <a:gd name="T0" fmla="*/ 320 w 1819"/>
                    <a:gd name="T1" fmla="*/ 669 h 672"/>
                    <a:gd name="T2" fmla="*/ 307 w 1819"/>
                    <a:gd name="T3" fmla="*/ 616 h 672"/>
                    <a:gd name="T4" fmla="*/ 292 w 1819"/>
                    <a:gd name="T5" fmla="*/ 564 h 672"/>
                    <a:gd name="T6" fmla="*/ 275 w 1819"/>
                    <a:gd name="T7" fmla="*/ 514 h 672"/>
                    <a:gd name="T8" fmla="*/ 257 w 1819"/>
                    <a:gd name="T9" fmla="*/ 468 h 672"/>
                    <a:gd name="T10" fmla="*/ 238 w 1819"/>
                    <a:gd name="T11" fmla="*/ 427 h 672"/>
                    <a:gd name="T12" fmla="*/ 220 w 1819"/>
                    <a:gd name="T13" fmla="*/ 393 h 672"/>
                    <a:gd name="T14" fmla="*/ 205 w 1819"/>
                    <a:gd name="T15" fmla="*/ 368 h 672"/>
                    <a:gd name="T16" fmla="*/ 191 w 1819"/>
                    <a:gd name="T17" fmla="*/ 346 h 672"/>
                    <a:gd name="T18" fmla="*/ 213 w 1819"/>
                    <a:gd name="T19" fmla="*/ 361 h 672"/>
                    <a:gd name="T20" fmla="*/ 261 w 1819"/>
                    <a:gd name="T21" fmla="*/ 412 h 672"/>
                    <a:gd name="T22" fmla="*/ 288 w 1819"/>
                    <a:gd name="T23" fmla="*/ 451 h 672"/>
                    <a:gd name="T24" fmla="*/ 314 w 1819"/>
                    <a:gd name="T25" fmla="*/ 497 h 672"/>
                    <a:gd name="T26" fmla="*/ 337 w 1819"/>
                    <a:gd name="T27" fmla="*/ 548 h 672"/>
                    <a:gd name="T28" fmla="*/ 354 w 1819"/>
                    <a:gd name="T29" fmla="*/ 604 h 672"/>
                    <a:gd name="T30" fmla="*/ 366 w 1819"/>
                    <a:gd name="T31" fmla="*/ 660 h 672"/>
                    <a:gd name="T32" fmla="*/ 368 w 1819"/>
                    <a:gd name="T33" fmla="*/ 672 h 672"/>
                    <a:gd name="T34" fmla="*/ 859 w 1819"/>
                    <a:gd name="T35" fmla="*/ 672 h 672"/>
                    <a:gd name="T36" fmla="*/ 879 w 1819"/>
                    <a:gd name="T37" fmla="*/ 456 h 672"/>
                    <a:gd name="T38" fmla="*/ 803 w 1819"/>
                    <a:gd name="T39" fmla="*/ 303 h 672"/>
                    <a:gd name="T40" fmla="*/ 814 w 1819"/>
                    <a:gd name="T41" fmla="*/ 264 h 672"/>
                    <a:gd name="T42" fmla="*/ 889 w 1819"/>
                    <a:gd name="T43" fmla="*/ 217 h 672"/>
                    <a:gd name="T44" fmla="*/ 928 w 1819"/>
                    <a:gd name="T45" fmla="*/ 214 h 672"/>
                    <a:gd name="T46" fmla="*/ 1059 w 1819"/>
                    <a:gd name="T47" fmla="*/ 239 h 672"/>
                    <a:gd name="T48" fmla="*/ 1026 w 1819"/>
                    <a:gd name="T49" fmla="*/ 303 h 672"/>
                    <a:gd name="T50" fmla="*/ 949 w 1819"/>
                    <a:gd name="T51" fmla="*/ 456 h 672"/>
                    <a:gd name="T52" fmla="*/ 969 w 1819"/>
                    <a:gd name="T53" fmla="*/ 672 h 672"/>
                    <a:gd name="T54" fmla="*/ 1455 w 1819"/>
                    <a:gd name="T55" fmla="*/ 672 h 672"/>
                    <a:gd name="T56" fmla="*/ 1465 w 1819"/>
                    <a:gd name="T57" fmla="*/ 625 h 672"/>
                    <a:gd name="T58" fmla="*/ 1482 w 1819"/>
                    <a:gd name="T59" fmla="*/ 569 h 672"/>
                    <a:gd name="T60" fmla="*/ 1505 w 1819"/>
                    <a:gd name="T61" fmla="*/ 518 h 672"/>
                    <a:gd name="T62" fmla="*/ 1531 w 1819"/>
                    <a:gd name="T63" fmla="*/ 472 h 672"/>
                    <a:gd name="T64" fmla="*/ 1558 w 1819"/>
                    <a:gd name="T65" fmla="*/ 433 h 672"/>
                    <a:gd name="T66" fmla="*/ 1607 w 1819"/>
                    <a:gd name="T67" fmla="*/ 383 h 672"/>
                    <a:gd name="T68" fmla="*/ 1628 w 1819"/>
                    <a:gd name="T69" fmla="*/ 367 h 672"/>
                    <a:gd name="T70" fmla="*/ 1614 w 1819"/>
                    <a:gd name="T71" fmla="*/ 389 h 672"/>
                    <a:gd name="T72" fmla="*/ 1599 w 1819"/>
                    <a:gd name="T73" fmla="*/ 415 h 672"/>
                    <a:gd name="T74" fmla="*/ 1581 w 1819"/>
                    <a:gd name="T75" fmla="*/ 448 h 672"/>
                    <a:gd name="T76" fmla="*/ 1562 w 1819"/>
                    <a:gd name="T77" fmla="*/ 489 h 672"/>
                    <a:gd name="T78" fmla="*/ 1544 w 1819"/>
                    <a:gd name="T79" fmla="*/ 535 h 672"/>
                    <a:gd name="T80" fmla="*/ 1527 w 1819"/>
                    <a:gd name="T81" fmla="*/ 585 h 672"/>
                    <a:gd name="T82" fmla="*/ 1512 w 1819"/>
                    <a:gd name="T83" fmla="*/ 637 h 672"/>
                    <a:gd name="T84" fmla="*/ 1503 w 1819"/>
                    <a:gd name="T85" fmla="*/ 672 h 672"/>
                    <a:gd name="T86" fmla="*/ 1819 w 1819"/>
                    <a:gd name="T87" fmla="*/ 672 h 672"/>
                    <a:gd name="T88" fmla="*/ 1238 w 1819"/>
                    <a:gd name="T89" fmla="*/ 0 h 672"/>
                    <a:gd name="T90" fmla="*/ 918 w 1819"/>
                    <a:gd name="T91" fmla="*/ 215 h 672"/>
                    <a:gd name="T92" fmla="*/ 617 w 1819"/>
                    <a:gd name="T93" fmla="*/ 7 h 672"/>
                    <a:gd name="T94" fmla="*/ 0 w 1819"/>
                    <a:gd name="T95" fmla="*/ 672 h 672"/>
                    <a:gd name="T96" fmla="*/ 321 w 1819"/>
                    <a:gd name="T97" fmla="*/ 672 h 672"/>
                    <a:gd name="T98" fmla="*/ 320 w 1819"/>
                    <a:gd name="T99" fmla="*/ 669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819" h="672">
                      <a:moveTo>
                        <a:pt x="320" y="669"/>
                      </a:moveTo>
                      <a:cubicBezTo>
                        <a:pt x="317" y="652"/>
                        <a:pt x="311" y="634"/>
                        <a:pt x="307" y="616"/>
                      </a:cubicBezTo>
                      <a:cubicBezTo>
                        <a:pt x="303" y="598"/>
                        <a:pt x="297" y="581"/>
                        <a:pt x="292" y="564"/>
                      </a:cubicBezTo>
                      <a:cubicBezTo>
                        <a:pt x="286" y="547"/>
                        <a:pt x="282" y="529"/>
                        <a:pt x="275" y="514"/>
                      </a:cubicBezTo>
                      <a:cubicBezTo>
                        <a:pt x="269" y="498"/>
                        <a:pt x="263" y="482"/>
                        <a:pt x="257" y="468"/>
                      </a:cubicBezTo>
                      <a:cubicBezTo>
                        <a:pt x="251" y="453"/>
                        <a:pt x="244" y="440"/>
                        <a:pt x="238" y="427"/>
                      </a:cubicBezTo>
                      <a:cubicBezTo>
                        <a:pt x="231" y="415"/>
                        <a:pt x="226" y="403"/>
                        <a:pt x="220" y="393"/>
                      </a:cubicBezTo>
                      <a:cubicBezTo>
                        <a:pt x="215" y="383"/>
                        <a:pt x="210" y="375"/>
                        <a:pt x="205" y="368"/>
                      </a:cubicBezTo>
                      <a:cubicBezTo>
                        <a:pt x="197" y="354"/>
                        <a:pt x="191" y="346"/>
                        <a:pt x="191" y="346"/>
                      </a:cubicBezTo>
                      <a:cubicBezTo>
                        <a:pt x="191" y="346"/>
                        <a:pt x="199" y="351"/>
                        <a:pt x="213" y="361"/>
                      </a:cubicBezTo>
                      <a:cubicBezTo>
                        <a:pt x="226" y="372"/>
                        <a:pt x="243" y="389"/>
                        <a:pt x="261" y="412"/>
                      </a:cubicBezTo>
                      <a:cubicBezTo>
                        <a:pt x="270" y="424"/>
                        <a:pt x="280" y="436"/>
                        <a:pt x="288" y="451"/>
                      </a:cubicBezTo>
                      <a:cubicBezTo>
                        <a:pt x="297" y="465"/>
                        <a:pt x="306" y="480"/>
                        <a:pt x="314" y="497"/>
                      </a:cubicBezTo>
                      <a:cubicBezTo>
                        <a:pt x="322" y="513"/>
                        <a:pt x="329" y="530"/>
                        <a:pt x="337" y="548"/>
                      </a:cubicBezTo>
                      <a:cubicBezTo>
                        <a:pt x="343" y="566"/>
                        <a:pt x="349" y="585"/>
                        <a:pt x="354" y="604"/>
                      </a:cubicBezTo>
                      <a:cubicBezTo>
                        <a:pt x="358" y="623"/>
                        <a:pt x="364" y="641"/>
                        <a:pt x="366" y="660"/>
                      </a:cubicBezTo>
                      <a:cubicBezTo>
                        <a:pt x="367" y="664"/>
                        <a:pt x="367" y="668"/>
                        <a:pt x="368" y="672"/>
                      </a:cubicBezTo>
                      <a:cubicBezTo>
                        <a:pt x="859" y="672"/>
                        <a:pt x="859" y="672"/>
                        <a:pt x="859" y="672"/>
                      </a:cubicBezTo>
                      <a:cubicBezTo>
                        <a:pt x="879" y="456"/>
                        <a:pt x="879" y="456"/>
                        <a:pt x="879" y="456"/>
                      </a:cubicBezTo>
                      <a:cubicBezTo>
                        <a:pt x="803" y="303"/>
                        <a:pt x="803" y="303"/>
                        <a:pt x="803" y="303"/>
                      </a:cubicBezTo>
                      <a:cubicBezTo>
                        <a:pt x="814" y="264"/>
                        <a:pt x="814" y="264"/>
                        <a:pt x="814" y="264"/>
                      </a:cubicBezTo>
                      <a:cubicBezTo>
                        <a:pt x="889" y="217"/>
                        <a:pt x="889" y="217"/>
                        <a:pt x="889" y="217"/>
                      </a:cubicBezTo>
                      <a:cubicBezTo>
                        <a:pt x="928" y="214"/>
                        <a:pt x="928" y="214"/>
                        <a:pt x="928" y="214"/>
                      </a:cubicBezTo>
                      <a:cubicBezTo>
                        <a:pt x="1059" y="239"/>
                        <a:pt x="1059" y="239"/>
                        <a:pt x="1059" y="239"/>
                      </a:cubicBezTo>
                      <a:cubicBezTo>
                        <a:pt x="1026" y="303"/>
                        <a:pt x="1026" y="303"/>
                        <a:pt x="1026" y="303"/>
                      </a:cubicBezTo>
                      <a:cubicBezTo>
                        <a:pt x="949" y="456"/>
                        <a:pt x="949" y="456"/>
                        <a:pt x="949" y="456"/>
                      </a:cubicBezTo>
                      <a:cubicBezTo>
                        <a:pt x="969" y="672"/>
                        <a:pt x="969" y="672"/>
                        <a:pt x="969" y="672"/>
                      </a:cubicBezTo>
                      <a:cubicBezTo>
                        <a:pt x="1455" y="672"/>
                        <a:pt x="1455" y="672"/>
                        <a:pt x="1455" y="672"/>
                      </a:cubicBezTo>
                      <a:cubicBezTo>
                        <a:pt x="1457" y="656"/>
                        <a:pt x="1462" y="641"/>
                        <a:pt x="1465" y="625"/>
                      </a:cubicBezTo>
                      <a:cubicBezTo>
                        <a:pt x="1470" y="606"/>
                        <a:pt x="1477" y="588"/>
                        <a:pt x="1482" y="569"/>
                      </a:cubicBezTo>
                      <a:cubicBezTo>
                        <a:pt x="1490" y="552"/>
                        <a:pt x="1497" y="534"/>
                        <a:pt x="1505" y="518"/>
                      </a:cubicBezTo>
                      <a:cubicBezTo>
                        <a:pt x="1513" y="501"/>
                        <a:pt x="1522" y="486"/>
                        <a:pt x="1531" y="472"/>
                      </a:cubicBezTo>
                      <a:cubicBezTo>
                        <a:pt x="1539" y="457"/>
                        <a:pt x="1549" y="445"/>
                        <a:pt x="1558" y="433"/>
                      </a:cubicBezTo>
                      <a:cubicBezTo>
                        <a:pt x="1576" y="410"/>
                        <a:pt x="1594" y="393"/>
                        <a:pt x="1607" y="383"/>
                      </a:cubicBezTo>
                      <a:cubicBezTo>
                        <a:pt x="1620" y="372"/>
                        <a:pt x="1628" y="367"/>
                        <a:pt x="1628" y="367"/>
                      </a:cubicBezTo>
                      <a:cubicBezTo>
                        <a:pt x="1628" y="367"/>
                        <a:pt x="1622" y="375"/>
                        <a:pt x="1614" y="389"/>
                      </a:cubicBezTo>
                      <a:cubicBezTo>
                        <a:pt x="1609" y="396"/>
                        <a:pt x="1604" y="405"/>
                        <a:pt x="1599" y="415"/>
                      </a:cubicBezTo>
                      <a:cubicBezTo>
                        <a:pt x="1593" y="424"/>
                        <a:pt x="1588" y="436"/>
                        <a:pt x="1581" y="448"/>
                      </a:cubicBezTo>
                      <a:cubicBezTo>
                        <a:pt x="1575" y="461"/>
                        <a:pt x="1569" y="474"/>
                        <a:pt x="1562" y="489"/>
                      </a:cubicBezTo>
                      <a:cubicBezTo>
                        <a:pt x="1556" y="503"/>
                        <a:pt x="1550" y="519"/>
                        <a:pt x="1544" y="535"/>
                      </a:cubicBezTo>
                      <a:cubicBezTo>
                        <a:pt x="1537" y="551"/>
                        <a:pt x="1533" y="568"/>
                        <a:pt x="1527" y="585"/>
                      </a:cubicBezTo>
                      <a:cubicBezTo>
                        <a:pt x="1522" y="602"/>
                        <a:pt x="1516" y="620"/>
                        <a:pt x="1512" y="637"/>
                      </a:cubicBezTo>
                      <a:cubicBezTo>
                        <a:pt x="1509" y="649"/>
                        <a:pt x="1506" y="660"/>
                        <a:pt x="1503" y="672"/>
                      </a:cubicBezTo>
                      <a:cubicBezTo>
                        <a:pt x="1819" y="672"/>
                        <a:pt x="1819" y="672"/>
                        <a:pt x="1819" y="672"/>
                      </a:cubicBezTo>
                      <a:cubicBezTo>
                        <a:pt x="1773" y="493"/>
                        <a:pt x="1626" y="84"/>
                        <a:pt x="1238" y="0"/>
                      </a:cubicBezTo>
                      <a:cubicBezTo>
                        <a:pt x="918" y="215"/>
                        <a:pt x="918" y="215"/>
                        <a:pt x="918" y="215"/>
                      </a:cubicBezTo>
                      <a:cubicBezTo>
                        <a:pt x="617" y="7"/>
                        <a:pt x="617" y="7"/>
                        <a:pt x="617" y="7"/>
                      </a:cubicBezTo>
                      <a:cubicBezTo>
                        <a:pt x="617" y="7"/>
                        <a:pt x="101" y="79"/>
                        <a:pt x="0" y="672"/>
                      </a:cubicBezTo>
                      <a:cubicBezTo>
                        <a:pt x="321" y="672"/>
                        <a:pt x="321" y="672"/>
                        <a:pt x="321" y="672"/>
                      </a:cubicBezTo>
                      <a:cubicBezTo>
                        <a:pt x="321" y="671"/>
                        <a:pt x="320" y="670"/>
                        <a:pt x="320" y="66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624">
                  <a:extLst>
                    <a:ext uri="{FF2B5EF4-FFF2-40B4-BE49-F238E27FC236}">
                      <a16:creationId xmlns:a16="http://schemas.microsoft.com/office/drawing/2014/main" id="{D41AD9B1-9AC6-419C-842F-F14F2D4967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6438" y="3911600"/>
                  <a:ext cx="84138" cy="173038"/>
                </a:xfrm>
                <a:custGeom>
                  <a:avLst/>
                  <a:gdLst>
                    <a:gd name="T0" fmla="*/ 53 w 53"/>
                    <a:gd name="T1" fmla="*/ 21 h 109"/>
                    <a:gd name="T2" fmla="*/ 51 w 53"/>
                    <a:gd name="T3" fmla="*/ 11 h 109"/>
                    <a:gd name="T4" fmla="*/ 30 w 53"/>
                    <a:gd name="T5" fmla="*/ 0 h 109"/>
                    <a:gd name="T6" fmla="*/ 21 w 53"/>
                    <a:gd name="T7" fmla="*/ 1 h 109"/>
                    <a:gd name="T8" fmla="*/ 4 w 53"/>
                    <a:gd name="T9" fmla="*/ 14 h 109"/>
                    <a:gd name="T10" fmla="*/ 0 w 53"/>
                    <a:gd name="T11" fmla="*/ 21 h 109"/>
                    <a:gd name="T12" fmla="*/ 18 w 53"/>
                    <a:gd name="T13" fmla="*/ 58 h 109"/>
                    <a:gd name="T14" fmla="*/ 13 w 53"/>
                    <a:gd name="T15" fmla="*/ 109 h 109"/>
                    <a:gd name="T16" fmla="*/ 40 w 53"/>
                    <a:gd name="T17" fmla="*/ 109 h 109"/>
                    <a:gd name="T18" fmla="*/ 35 w 53"/>
                    <a:gd name="T19" fmla="*/ 58 h 109"/>
                    <a:gd name="T20" fmla="*/ 53 w 53"/>
                    <a:gd name="T21" fmla="*/ 21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3" h="109">
                      <a:moveTo>
                        <a:pt x="53" y="21"/>
                      </a:moveTo>
                      <a:lnTo>
                        <a:pt x="51" y="11"/>
                      </a:lnTo>
                      <a:lnTo>
                        <a:pt x="30" y="0"/>
                      </a:lnTo>
                      <a:lnTo>
                        <a:pt x="21" y="1"/>
                      </a:lnTo>
                      <a:lnTo>
                        <a:pt x="4" y="14"/>
                      </a:lnTo>
                      <a:lnTo>
                        <a:pt x="0" y="21"/>
                      </a:lnTo>
                      <a:lnTo>
                        <a:pt x="18" y="58"/>
                      </a:lnTo>
                      <a:lnTo>
                        <a:pt x="13" y="109"/>
                      </a:lnTo>
                      <a:lnTo>
                        <a:pt x="40" y="109"/>
                      </a:lnTo>
                      <a:lnTo>
                        <a:pt x="35" y="58"/>
                      </a:lnTo>
                      <a:lnTo>
                        <a:pt x="53" y="2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625">
                  <a:extLst>
                    <a:ext uri="{FF2B5EF4-FFF2-40B4-BE49-F238E27FC236}">
                      <a16:creationId xmlns:a16="http://schemas.microsoft.com/office/drawing/2014/main" id="{FD8A8EA5-765A-436B-905B-748BFE9951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24663" y="3962400"/>
                  <a:ext cx="66675" cy="122238"/>
                </a:xfrm>
                <a:custGeom>
                  <a:avLst/>
                  <a:gdLst>
                    <a:gd name="T0" fmla="*/ 163 w 177"/>
                    <a:gd name="T1" fmla="*/ 258 h 326"/>
                    <a:gd name="T2" fmla="*/ 146 w 177"/>
                    <a:gd name="T3" fmla="*/ 202 h 326"/>
                    <a:gd name="T4" fmla="*/ 123 w 177"/>
                    <a:gd name="T5" fmla="*/ 151 h 326"/>
                    <a:gd name="T6" fmla="*/ 97 w 177"/>
                    <a:gd name="T7" fmla="*/ 105 h 326"/>
                    <a:gd name="T8" fmla="*/ 70 w 177"/>
                    <a:gd name="T9" fmla="*/ 66 h 326"/>
                    <a:gd name="T10" fmla="*/ 22 w 177"/>
                    <a:gd name="T11" fmla="*/ 15 h 326"/>
                    <a:gd name="T12" fmla="*/ 0 w 177"/>
                    <a:gd name="T13" fmla="*/ 0 h 326"/>
                    <a:gd name="T14" fmla="*/ 14 w 177"/>
                    <a:gd name="T15" fmla="*/ 22 h 326"/>
                    <a:gd name="T16" fmla="*/ 29 w 177"/>
                    <a:gd name="T17" fmla="*/ 47 h 326"/>
                    <a:gd name="T18" fmla="*/ 47 w 177"/>
                    <a:gd name="T19" fmla="*/ 81 h 326"/>
                    <a:gd name="T20" fmla="*/ 66 w 177"/>
                    <a:gd name="T21" fmla="*/ 122 h 326"/>
                    <a:gd name="T22" fmla="*/ 84 w 177"/>
                    <a:gd name="T23" fmla="*/ 168 h 326"/>
                    <a:gd name="T24" fmla="*/ 101 w 177"/>
                    <a:gd name="T25" fmla="*/ 218 h 326"/>
                    <a:gd name="T26" fmla="*/ 116 w 177"/>
                    <a:gd name="T27" fmla="*/ 270 h 326"/>
                    <a:gd name="T28" fmla="*/ 129 w 177"/>
                    <a:gd name="T29" fmla="*/ 323 h 326"/>
                    <a:gd name="T30" fmla="*/ 130 w 177"/>
                    <a:gd name="T31" fmla="*/ 326 h 326"/>
                    <a:gd name="T32" fmla="*/ 177 w 177"/>
                    <a:gd name="T33" fmla="*/ 326 h 326"/>
                    <a:gd name="T34" fmla="*/ 175 w 177"/>
                    <a:gd name="T35" fmla="*/ 314 h 326"/>
                    <a:gd name="T36" fmla="*/ 163 w 177"/>
                    <a:gd name="T37" fmla="*/ 25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77" h="326">
                      <a:moveTo>
                        <a:pt x="163" y="258"/>
                      </a:moveTo>
                      <a:cubicBezTo>
                        <a:pt x="158" y="239"/>
                        <a:pt x="152" y="220"/>
                        <a:pt x="146" y="202"/>
                      </a:cubicBezTo>
                      <a:cubicBezTo>
                        <a:pt x="138" y="184"/>
                        <a:pt x="131" y="167"/>
                        <a:pt x="123" y="151"/>
                      </a:cubicBezTo>
                      <a:cubicBezTo>
                        <a:pt x="115" y="134"/>
                        <a:pt x="106" y="119"/>
                        <a:pt x="97" y="105"/>
                      </a:cubicBezTo>
                      <a:cubicBezTo>
                        <a:pt x="89" y="90"/>
                        <a:pt x="79" y="78"/>
                        <a:pt x="70" y="66"/>
                      </a:cubicBezTo>
                      <a:cubicBezTo>
                        <a:pt x="52" y="43"/>
                        <a:pt x="35" y="26"/>
                        <a:pt x="22" y="15"/>
                      </a:cubicBezTo>
                      <a:cubicBezTo>
                        <a:pt x="8" y="5"/>
                        <a:pt x="0" y="0"/>
                        <a:pt x="0" y="0"/>
                      </a:cubicBezTo>
                      <a:cubicBezTo>
                        <a:pt x="0" y="0"/>
                        <a:pt x="6" y="8"/>
                        <a:pt x="14" y="22"/>
                      </a:cubicBezTo>
                      <a:cubicBezTo>
                        <a:pt x="19" y="29"/>
                        <a:pt x="24" y="37"/>
                        <a:pt x="29" y="47"/>
                      </a:cubicBezTo>
                      <a:cubicBezTo>
                        <a:pt x="35" y="57"/>
                        <a:pt x="40" y="69"/>
                        <a:pt x="47" y="81"/>
                      </a:cubicBezTo>
                      <a:cubicBezTo>
                        <a:pt x="53" y="94"/>
                        <a:pt x="60" y="107"/>
                        <a:pt x="66" y="122"/>
                      </a:cubicBezTo>
                      <a:cubicBezTo>
                        <a:pt x="72" y="136"/>
                        <a:pt x="78" y="152"/>
                        <a:pt x="84" y="168"/>
                      </a:cubicBezTo>
                      <a:cubicBezTo>
                        <a:pt x="91" y="183"/>
                        <a:pt x="95" y="201"/>
                        <a:pt x="101" y="218"/>
                      </a:cubicBezTo>
                      <a:cubicBezTo>
                        <a:pt x="106" y="235"/>
                        <a:pt x="112" y="252"/>
                        <a:pt x="116" y="270"/>
                      </a:cubicBezTo>
                      <a:cubicBezTo>
                        <a:pt x="120" y="288"/>
                        <a:pt x="126" y="306"/>
                        <a:pt x="129" y="323"/>
                      </a:cubicBezTo>
                      <a:cubicBezTo>
                        <a:pt x="129" y="324"/>
                        <a:pt x="130" y="325"/>
                        <a:pt x="130" y="326"/>
                      </a:cubicBezTo>
                      <a:cubicBezTo>
                        <a:pt x="177" y="326"/>
                        <a:pt x="177" y="326"/>
                        <a:pt x="177" y="326"/>
                      </a:cubicBezTo>
                      <a:cubicBezTo>
                        <a:pt x="176" y="322"/>
                        <a:pt x="176" y="318"/>
                        <a:pt x="175" y="314"/>
                      </a:cubicBezTo>
                      <a:cubicBezTo>
                        <a:pt x="173" y="295"/>
                        <a:pt x="167" y="277"/>
                        <a:pt x="163" y="258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626">
                  <a:extLst>
                    <a:ext uri="{FF2B5EF4-FFF2-40B4-BE49-F238E27FC236}">
                      <a16:creationId xmlns:a16="http://schemas.microsoft.com/office/drawing/2014/main" id="{98339486-530A-4D9D-A8D1-E80E549FE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02501" y="3970338"/>
                  <a:ext cx="66675" cy="114300"/>
                </a:xfrm>
                <a:custGeom>
                  <a:avLst/>
                  <a:gdLst>
                    <a:gd name="T0" fmla="*/ 72 w 173"/>
                    <a:gd name="T1" fmla="*/ 218 h 305"/>
                    <a:gd name="T2" fmla="*/ 89 w 173"/>
                    <a:gd name="T3" fmla="*/ 168 h 305"/>
                    <a:gd name="T4" fmla="*/ 107 w 173"/>
                    <a:gd name="T5" fmla="*/ 122 h 305"/>
                    <a:gd name="T6" fmla="*/ 126 w 173"/>
                    <a:gd name="T7" fmla="*/ 81 h 305"/>
                    <a:gd name="T8" fmla="*/ 144 w 173"/>
                    <a:gd name="T9" fmla="*/ 48 h 305"/>
                    <a:gd name="T10" fmla="*/ 159 w 173"/>
                    <a:gd name="T11" fmla="*/ 22 h 305"/>
                    <a:gd name="T12" fmla="*/ 173 w 173"/>
                    <a:gd name="T13" fmla="*/ 0 h 305"/>
                    <a:gd name="T14" fmla="*/ 152 w 173"/>
                    <a:gd name="T15" fmla="*/ 16 h 305"/>
                    <a:gd name="T16" fmla="*/ 103 w 173"/>
                    <a:gd name="T17" fmla="*/ 66 h 305"/>
                    <a:gd name="T18" fmla="*/ 76 w 173"/>
                    <a:gd name="T19" fmla="*/ 105 h 305"/>
                    <a:gd name="T20" fmla="*/ 50 w 173"/>
                    <a:gd name="T21" fmla="*/ 151 h 305"/>
                    <a:gd name="T22" fmla="*/ 27 w 173"/>
                    <a:gd name="T23" fmla="*/ 202 h 305"/>
                    <a:gd name="T24" fmla="*/ 10 w 173"/>
                    <a:gd name="T25" fmla="*/ 258 h 305"/>
                    <a:gd name="T26" fmla="*/ 0 w 173"/>
                    <a:gd name="T27" fmla="*/ 305 h 305"/>
                    <a:gd name="T28" fmla="*/ 48 w 173"/>
                    <a:gd name="T29" fmla="*/ 305 h 305"/>
                    <a:gd name="T30" fmla="*/ 57 w 173"/>
                    <a:gd name="T31" fmla="*/ 270 h 305"/>
                    <a:gd name="T32" fmla="*/ 72 w 173"/>
                    <a:gd name="T33" fmla="*/ 218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3" h="305">
                      <a:moveTo>
                        <a:pt x="72" y="218"/>
                      </a:moveTo>
                      <a:cubicBezTo>
                        <a:pt x="78" y="201"/>
                        <a:pt x="82" y="184"/>
                        <a:pt x="89" y="168"/>
                      </a:cubicBezTo>
                      <a:cubicBezTo>
                        <a:pt x="95" y="152"/>
                        <a:pt x="101" y="136"/>
                        <a:pt x="107" y="122"/>
                      </a:cubicBezTo>
                      <a:cubicBezTo>
                        <a:pt x="114" y="107"/>
                        <a:pt x="120" y="94"/>
                        <a:pt x="126" y="81"/>
                      </a:cubicBezTo>
                      <a:cubicBezTo>
                        <a:pt x="133" y="69"/>
                        <a:pt x="138" y="57"/>
                        <a:pt x="144" y="48"/>
                      </a:cubicBezTo>
                      <a:cubicBezTo>
                        <a:pt x="149" y="38"/>
                        <a:pt x="154" y="29"/>
                        <a:pt x="159" y="22"/>
                      </a:cubicBezTo>
                      <a:cubicBezTo>
                        <a:pt x="167" y="8"/>
                        <a:pt x="173" y="0"/>
                        <a:pt x="173" y="0"/>
                      </a:cubicBezTo>
                      <a:cubicBezTo>
                        <a:pt x="173" y="0"/>
                        <a:pt x="165" y="5"/>
                        <a:pt x="152" y="16"/>
                      </a:cubicBezTo>
                      <a:cubicBezTo>
                        <a:pt x="139" y="26"/>
                        <a:pt x="121" y="43"/>
                        <a:pt x="103" y="66"/>
                      </a:cubicBezTo>
                      <a:cubicBezTo>
                        <a:pt x="94" y="78"/>
                        <a:pt x="84" y="90"/>
                        <a:pt x="76" y="105"/>
                      </a:cubicBezTo>
                      <a:cubicBezTo>
                        <a:pt x="67" y="119"/>
                        <a:pt x="58" y="134"/>
                        <a:pt x="50" y="151"/>
                      </a:cubicBezTo>
                      <a:cubicBezTo>
                        <a:pt x="42" y="167"/>
                        <a:pt x="35" y="185"/>
                        <a:pt x="27" y="202"/>
                      </a:cubicBezTo>
                      <a:cubicBezTo>
                        <a:pt x="22" y="221"/>
                        <a:pt x="15" y="239"/>
                        <a:pt x="10" y="258"/>
                      </a:cubicBezTo>
                      <a:cubicBezTo>
                        <a:pt x="7" y="274"/>
                        <a:pt x="2" y="289"/>
                        <a:pt x="0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51" y="293"/>
                        <a:pt x="54" y="282"/>
                        <a:pt x="57" y="270"/>
                      </a:cubicBezTo>
                      <a:cubicBezTo>
                        <a:pt x="61" y="253"/>
                        <a:pt x="67" y="235"/>
                        <a:pt x="72" y="218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Rectangle 627">
                  <a:extLst>
                    <a:ext uri="{FF2B5EF4-FFF2-40B4-BE49-F238E27FC236}">
                      <a16:creationId xmlns:a16="http://schemas.microsoft.com/office/drawing/2014/main" id="{A18C73B9-77B8-4560-B897-9349A370FB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11988" y="3709988"/>
                  <a:ext cx="171450" cy="201613"/>
                </a:xfrm>
                <a:prstGeom prst="rect">
                  <a:avLst/>
                </a:prstGeom>
                <a:solidFill>
                  <a:srgbClr val="EAEE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628">
                  <a:extLst>
                    <a:ext uri="{FF2B5EF4-FFF2-40B4-BE49-F238E27FC236}">
                      <a16:creationId xmlns:a16="http://schemas.microsoft.com/office/drawing/2014/main" id="{5DBE039A-9FD9-47BA-B22F-536ACBBD95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11988" y="3676650"/>
                  <a:ext cx="176213" cy="139700"/>
                </a:xfrm>
                <a:custGeom>
                  <a:avLst/>
                  <a:gdLst>
                    <a:gd name="T0" fmla="*/ 0 w 111"/>
                    <a:gd name="T1" fmla="*/ 88 h 88"/>
                    <a:gd name="T2" fmla="*/ 111 w 111"/>
                    <a:gd name="T3" fmla="*/ 25 h 88"/>
                    <a:gd name="T4" fmla="*/ 0 w 111"/>
                    <a:gd name="T5" fmla="*/ 0 h 88"/>
                    <a:gd name="T6" fmla="*/ 0 w 111"/>
                    <a:gd name="T7" fmla="*/ 88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1" h="88">
                      <a:moveTo>
                        <a:pt x="0" y="88"/>
                      </a:moveTo>
                      <a:lnTo>
                        <a:pt x="111" y="25"/>
                      </a:lnTo>
                      <a:lnTo>
                        <a:pt x="0" y="0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rgbClr val="B9B6B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629">
                  <a:extLst>
                    <a:ext uri="{FF2B5EF4-FFF2-40B4-BE49-F238E27FC236}">
                      <a16:creationId xmlns:a16="http://schemas.microsoft.com/office/drawing/2014/main" id="{CC1378CF-9AA1-40B8-931C-B26ED1FC7A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4063" y="3911600"/>
                  <a:ext cx="49213" cy="33338"/>
                </a:xfrm>
                <a:custGeom>
                  <a:avLst/>
                  <a:gdLst>
                    <a:gd name="T0" fmla="*/ 23 w 31"/>
                    <a:gd name="T1" fmla="*/ 21 h 21"/>
                    <a:gd name="T2" fmla="*/ 31 w 31"/>
                    <a:gd name="T3" fmla="*/ 6 h 21"/>
                    <a:gd name="T4" fmla="*/ 0 w 31"/>
                    <a:gd name="T5" fmla="*/ 0 h 21"/>
                    <a:gd name="T6" fmla="*/ 23 w 31"/>
                    <a:gd name="T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" h="21">
                      <a:moveTo>
                        <a:pt x="23" y="21"/>
                      </a:moveTo>
                      <a:lnTo>
                        <a:pt x="31" y="6"/>
                      </a:lnTo>
                      <a:lnTo>
                        <a:pt x="0" y="0"/>
                      </a:lnTo>
                      <a:lnTo>
                        <a:pt x="23" y="21"/>
                      </a:lnTo>
                      <a:close/>
                    </a:path>
                  </a:pathLst>
                </a:custGeom>
                <a:solidFill>
                  <a:srgbClr val="93C5C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630">
                  <a:extLst>
                    <a:ext uri="{FF2B5EF4-FFF2-40B4-BE49-F238E27FC236}">
                      <a16:creationId xmlns:a16="http://schemas.microsoft.com/office/drawing/2014/main" id="{ADFB40B4-6CAB-494E-8C57-0DD199591E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4063" y="3911600"/>
                  <a:ext cx="49213" cy="33338"/>
                </a:xfrm>
                <a:custGeom>
                  <a:avLst/>
                  <a:gdLst>
                    <a:gd name="T0" fmla="*/ 23 w 31"/>
                    <a:gd name="T1" fmla="*/ 21 h 21"/>
                    <a:gd name="T2" fmla="*/ 31 w 31"/>
                    <a:gd name="T3" fmla="*/ 6 h 21"/>
                    <a:gd name="T4" fmla="*/ 0 w 31"/>
                    <a:gd name="T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1" h="21">
                      <a:moveTo>
                        <a:pt x="23" y="21"/>
                      </a:moveTo>
                      <a:lnTo>
                        <a:pt x="31" y="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631">
                  <a:extLst>
                    <a:ext uri="{FF2B5EF4-FFF2-40B4-BE49-F238E27FC236}">
                      <a16:creationId xmlns:a16="http://schemas.microsoft.com/office/drawing/2014/main" id="{DD7E7915-AAB0-41F8-88FC-5136D5ED80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6438" y="3913188"/>
                  <a:ext cx="33338" cy="31750"/>
                </a:xfrm>
                <a:custGeom>
                  <a:avLst/>
                  <a:gdLst>
                    <a:gd name="T0" fmla="*/ 21 w 21"/>
                    <a:gd name="T1" fmla="*/ 0 h 20"/>
                    <a:gd name="T2" fmla="*/ 3 w 21"/>
                    <a:gd name="T3" fmla="*/ 11 h 20"/>
                    <a:gd name="T4" fmla="*/ 0 w 21"/>
                    <a:gd name="T5" fmla="*/ 20 h 20"/>
                    <a:gd name="T6" fmla="*/ 4 w 21"/>
                    <a:gd name="T7" fmla="*/ 13 h 20"/>
                    <a:gd name="T8" fmla="*/ 21 w 21"/>
                    <a:gd name="T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20">
                      <a:moveTo>
                        <a:pt x="21" y="0"/>
                      </a:moveTo>
                      <a:lnTo>
                        <a:pt x="3" y="11"/>
                      </a:lnTo>
                      <a:lnTo>
                        <a:pt x="0" y="20"/>
                      </a:lnTo>
                      <a:lnTo>
                        <a:pt x="4" y="13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93C5C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 632">
                  <a:extLst>
                    <a:ext uri="{FF2B5EF4-FFF2-40B4-BE49-F238E27FC236}">
                      <a16:creationId xmlns:a16="http://schemas.microsoft.com/office/drawing/2014/main" id="{91225B21-E4BE-4F19-AC83-05DEF9821F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7063" y="3808413"/>
                  <a:ext cx="123825" cy="155575"/>
                </a:xfrm>
                <a:custGeom>
                  <a:avLst/>
                  <a:gdLst>
                    <a:gd name="T0" fmla="*/ 12 w 78"/>
                    <a:gd name="T1" fmla="*/ 0 h 98"/>
                    <a:gd name="T2" fmla="*/ 78 w 78"/>
                    <a:gd name="T3" fmla="*/ 65 h 98"/>
                    <a:gd name="T4" fmla="*/ 36 w 78"/>
                    <a:gd name="T5" fmla="*/ 98 h 98"/>
                    <a:gd name="T6" fmla="*/ 0 w 78"/>
                    <a:gd name="T7" fmla="*/ 14 h 98"/>
                    <a:gd name="T8" fmla="*/ 12 w 78"/>
                    <a:gd name="T9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" h="98">
                      <a:moveTo>
                        <a:pt x="12" y="0"/>
                      </a:moveTo>
                      <a:lnTo>
                        <a:pt x="78" y="65"/>
                      </a:lnTo>
                      <a:lnTo>
                        <a:pt x="36" y="98"/>
                      </a:lnTo>
                      <a:lnTo>
                        <a:pt x="0" y="14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633">
                  <a:extLst>
                    <a:ext uri="{FF2B5EF4-FFF2-40B4-BE49-F238E27FC236}">
                      <a16:creationId xmlns:a16="http://schemas.microsoft.com/office/drawing/2014/main" id="{55F31706-1984-4753-A26F-425A2AEE65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0888" y="3808413"/>
                  <a:ext cx="120649" cy="158750"/>
                </a:xfrm>
                <a:custGeom>
                  <a:avLst/>
                  <a:gdLst>
                    <a:gd name="T0" fmla="*/ 63 w 76"/>
                    <a:gd name="T1" fmla="*/ 0 h 100"/>
                    <a:gd name="T2" fmla="*/ 0 w 76"/>
                    <a:gd name="T3" fmla="*/ 65 h 100"/>
                    <a:gd name="T4" fmla="*/ 42 w 76"/>
                    <a:gd name="T5" fmla="*/ 100 h 100"/>
                    <a:gd name="T6" fmla="*/ 76 w 76"/>
                    <a:gd name="T7" fmla="*/ 14 h 100"/>
                    <a:gd name="T8" fmla="*/ 63 w 76"/>
                    <a:gd name="T9" fmla="*/ 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100">
                      <a:moveTo>
                        <a:pt x="63" y="0"/>
                      </a:moveTo>
                      <a:lnTo>
                        <a:pt x="0" y="65"/>
                      </a:lnTo>
                      <a:lnTo>
                        <a:pt x="42" y="100"/>
                      </a:lnTo>
                      <a:lnTo>
                        <a:pt x="76" y="14"/>
                      </a:lnTo>
                      <a:lnTo>
                        <a:pt x="63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634">
                  <a:extLst>
                    <a:ext uri="{FF2B5EF4-FFF2-40B4-BE49-F238E27FC236}">
                      <a16:creationId xmlns:a16="http://schemas.microsoft.com/office/drawing/2014/main" id="{57CBBCA5-E87F-49D5-9F7A-68F96610E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0226" y="3235325"/>
                  <a:ext cx="212725" cy="504825"/>
                </a:xfrm>
                <a:custGeom>
                  <a:avLst/>
                  <a:gdLst>
                    <a:gd name="T0" fmla="*/ 0 w 564"/>
                    <a:gd name="T1" fmla="*/ 594 h 1332"/>
                    <a:gd name="T2" fmla="*/ 564 w 564"/>
                    <a:gd name="T3" fmla="*/ 1332 h 1332"/>
                    <a:gd name="T4" fmla="*/ 564 w 564"/>
                    <a:gd name="T5" fmla="*/ 0 h 1332"/>
                    <a:gd name="T6" fmla="*/ 0 w 564"/>
                    <a:gd name="T7" fmla="*/ 594 h 1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4" h="1332">
                      <a:moveTo>
                        <a:pt x="0" y="594"/>
                      </a:moveTo>
                      <a:cubicBezTo>
                        <a:pt x="0" y="996"/>
                        <a:pt x="252" y="1323"/>
                        <a:pt x="564" y="1332"/>
                      </a:cubicBezTo>
                      <a:cubicBezTo>
                        <a:pt x="564" y="0"/>
                        <a:pt x="564" y="0"/>
                        <a:pt x="564" y="0"/>
                      </a:cubicBezTo>
                      <a:cubicBezTo>
                        <a:pt x="257" y="10"/>
                        <a:pt x="0" y="197"/>
                        <a:pt x="0" y="594"/>
                      </a:cubicBezTo>
                      <a:close/>
                    </a:path>
                  </a:pathLst>
                </a:custGeom>
                <a:solidFill>
                  <a:srgbClr val="DADB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635">
                  <a:extLst>
                    <a:ext uri="{FF2B5EF4-FFF2-40B4-BE49-F238E27FC236}">
                      <a16:creationId xmlns:a16="http://schemas.microsoft.com/office/drawing/2014/main" id="{0F30883F-EB87-41A7-BBBD-021A38DAB4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2951" y="3235325"/>
                  <a:ext cx="223838" cy="504825"/>
                </a:xfrm>
                <a:custGeom>
                  <a:avLst/>
                  <a:gdLst>
                    <a:gd name="T0" fmla="*/ 27 w 591"/>
                    <a:gd name="T1" fmla="*/ 0 h 1333"/>
                    <a:gd name="T2" fmla="*/ 0 w 591"/>
                    <a:gd name="T3" fmla="*/ 0 h 1333"/>
                    <a:gd name="T4" fmla="*/ 0 w 591"/>
                    <a:gd name="T5" fmla="*/ 1332 h 1333"/>
                    <a:gd name="T6" fmla="*/ 14 w 591"/>
                    <a:gd name="T7" fmla="*/ 1333 h 1333"/>
                    <a:gd name="T8" fmla="*/ 591 w 591"/>
                    <a:gd name="T9" fmla="*/ 594 h 1333"/>
                    <a:gd name="T10" fmla="*/ 27 w 591"/>
                    <a:gd name="T11" fmla="*/ 0 h 1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1" h="1333">
                      <a:moveTo>
                        <a:pt x="27" y="0"/>
                      </a:moveTo>
                      <a:cubicBezTo>
                        <a:pt x="18" y="0"/>
                        <a:pt x="9" y="0"/>
                        <a:pt x="0" y="0"/>
                      </a:cubicBezTo>
                      <a:cubicBezTo>
                        <a:pt x="0" y="1332"/>
                        <a:pt x="0" y="1332"/>
                        <a:pt x="0" y="1332"/>
                      </a:cubicBezTo>
                      <a:cubicBezTo>
                        <a:pt x="5" y="1332"/>
                        <a:pt x="9" y="1333"/>
                        <a:pt x="14" y="1333"/>
                      </a:cubicBezTo>
                      <a:cubicBezTo>
                        <a:pt x="332" y="1333"/>
                        <a:pt x="591" y="1002"/>
                        <a:pt x="591" y="594"/>
                      </a:cubicBezTo>
                      <a:cubicBezTo>
                        <a:pt x="591" y="186"/>
                        <a:pt x="346" y="0"/>
                        <a:pt x="2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636">
                  <a:extLst>
                    <a:ext uri="{FF2B5EF4-FFF2-40B4-BE49-F238E27FC236}">
                      <a16:creationId xmlns:a16="http://schemas.microsoft.com/office/drawing/2014/main" id="{F098F2FD-D8D6-4F8A-9E0F-9FBBEE2EE5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3189288"/>
                  <a:ext cx="476250" cy="314325"/>
                </a:xfrm>
                <a:custGeom>
                  <a:avLst/>
                  <a:gdLst>
                    <a:gd name="T0" fmla="*/ 1257 w 1259"/>
                    <a:gd name="T1" fmla="*/ 609 h 833"/>
                    <a:gd name="T2" fmla="*/ 1169 w 1259"/>
                    <a:gd name="T3" fmla="*/ 294 h 833"/>
                    <a:gd name="T4" fmla="*/ 793 w 1259"/>
                    <a:gd name="T5" fmla="*/ 5 h 833"/>
                    <a:gd name="T6" fmla="*/ 351 w 1259"/>
                    <a:gd name="T7" fmla="*/ 54 h 833"/>
                    <a:gd name="T8" fmla="*/ 246 w 1259"/>
                    <a:gd name="T9" fmla="*/ 69 h 833"/>
                    <a:gd name="T10" fmla="*/ 193 w 1259"/>
                    <a:gd name="T11" fmla="*/ 69 h 833"/>
                    <a:gd name="T12" fmla="*/ 204 w 1259"/>
                    <a:gd name="T13" fmla="*/ 96 h 833"/>
                    <a:gd name="T14" fmla="*/ 214 w 1259"/>
                    <a:gd name="T15" fmla="*/ 118 h 833"/>
                    <a:gd name="T16" fmla="*/ 184 w 1259"/>
                    <a:gd name="T17" fmla="*/ 111 h 833"/>
                    <a:gd name="T18" fmla="*/ 69 w 1259"/>
                    <a:gd name="T19" fmla="*/ 56 h 833"/>
                    <a:gd name="T20" fmla="*/ 91 w 1259"/>
                    <a:gd name="T21" fmla="*/ 207 h 833"/>
                    <a:gd name="T22" fmla="*/ 126 w 1259"/>
                    <a:gd name="T23" fmla="*/ 268 h 833"/>
                    <a:gd name="T24" fmla="*/ 76 w 1259"/>
                    <a:gd name="T25" fmla="*/ 256 h 833"/>
                    <a:gd name="T26" fmla="*/ 97 w 1259"/>
                    <a:gd name="T27" fmla="*/ 328 h 833"/>
                    <a:gd name="T28" fmla="*/ 0 w 1259"/>
                    <a:gd name="T29" fmla="*/ 677 h 833"/>
                    <a:gd name="T30" fmla="*/ 133 w 1259"/>
                    <a:gd name="T31" fmla="*/ 833 h 833"/>
                    <a:gd name="T32" fmla="*/ 179 w 1259"/>
                    <a:gd name="T33" fmla="*/ 721 h 833"/>
                    <a:gd name="T34" fmla="*/ 182 w 1259"/>
                    <a:gd name="T35" fmla="*/ 722 h 833"/>
                    <a:gd name="T36" fmla="*/ 242 w 1259"/>
                    <a:gd name="T37" fmla="*/ 426 h 833"/>
                    <a:gd name="T38" fmla="*/ 966 w 1259"/>
                    <a:gd name="T39" fmla="*/ 437 h 833"/>
                    <a:gd name="T40" fmla="*/ 983 w 1259"/>
                    <a:gd name="T41" fmla="*/ 419 h 833"/>
                    <a:gd name="T42" fmla="*/ 1154 w 1259"/>
                    <a:gd name="T43" fmla="*/ 794 h 833"/>
                    <a:gd name="T44" fmla="*/ 1258 w 1259"/>
                    <a:gd name="T45" fmla="*/ 619 h 833"/>
                    <a:gd name="T46" fmla="*/ 1259 w 1259"/>
                    <a:gd name="T47" fmla="*/ 618 h 833"/>
                    <a:gd name="T48" fmla="*/ 1257 w 1259"/>
                    <a:gd name="T49" fmla="*/ 609 h 8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59" h="833">
                      <a:moveTo>
                        <a:pt x="1257" y="609"/>
                      </a:moveTo>
                      <a:cubicBezTo>
                        <a:pt x="1244" y="426"/>
                        <a:pt x="1169" y="294"/>
                        <a:pt x="1169" y="294"/>
                      </a:cubicBezTo>
                      <a:cubicBezTo>
                        <a:pt x="1219" y="72"/>
                        <a:pt x="1011" y="10"/>
                        <a:pt x="793" y="5"/>
                      </a:cubicBezTo>
                      <a:cubicBezTo>
                        <a:pt x="590" y="0"/>
                        <a:pt x="378" y="44"/>
                        <a:pt x="351" y="54"/>
                      </a:cubicBezTo>
                      <a:cubicBezTo>
                        <a:pt x="321" y="64"/>
                        <a:pt x="279" y="68"/>
                        <a:pt x="246" y="69"/>
                      </a:cubicBezTo>
                      <a:cubicBezTo>
                        <a:pt x="216" y="70"/>
                        <a:pt x="193" y="69"/>
                        <a:pt x="193" y="69"/>
                      </a:cubicBezTo>
                      <a:cubicBezTo>
                        <a:pt x="194" y="74"/>
                        <a:pt x="199" y="86"/>
                        <a:pt x="204" y="96"/>
                      </a:cubicBezTo>
                      <a:cubicBezTo>
                        <a:pt x="209" y="108"/>
                        <a:pt x="214" y="118"/>
                        <a:pt x="214" y="118"/>
                      </a:cubicBezTo>
                      <a:cubicBezTo>
                        <a:pt x="208" y="119"/>
                        <a:pt x="197" y="116"/>
                        <a:pt x="184" y="111"/>
                      </a:cubicBezTo>
                      <a:cubicBezTo>
                        <a:pt x="140" y="95"/>
                        <a:pt x="69" y="56"/>
                        <a:pt x="69" y="56"/>
                      </a:cubicBezTo>
                      <a:cubicBezTo>
                        <a:pt x="61" y="116"/>
                        <a:pt x="75" y="169"/>
                        <a:pt x="91" y="207"/>
                      </a:cubicBezTo>
                      <a:cubicBezTo>
                        <a:pt x="107" y="245"/>
                        <a:pt x="126" y="268"/>
                        <a:pt x="126" y="268"/>
                      </a:cubicBezTo>
                      <a:cubicBezTo>
                        <a:pt x="113" y="271"/>
                        <a:pt x="76" y="256"/>
                        <a:pt x="76" y="256"/>
                      </a:cubicBezTo>
                      <a:cubicBezTo>
                        <a:pt x="87" y="305"/>
                        <a:pt x="97" y="328"/>
                        <a:pt x="97" y="328"/>
                      </a:cubicBezTo>
                      <a:cubicBezTo>
                        <a:pt x="19" y="385"/>
                        <a:pt x="1" y="549"/>
                        <a:pt x="0" y="677"/>
                      </a:cubicBezTo>
                      <a:cubicBezTo>
                        <a:pt x="133" y="833"/>
                        <a:pt x="133" y="833"/>
                        <a:pt x="133" y="833"/>
                      </a:cubicBezTo>
                      <a:cubicBezTo>
                        <a:pt x="179" y="721"/>
                        <a:pt x="179" y="721"/>
                        <a:pt x="179" y="721"/>
                      </a:cubicBezTo>
                      <a:cubicBezTo>
                        <a:pt x="180" y="722"/>
                        <a:pt x="181" y="722"/>
                        <a:pt x="182" y="722"/>
                      </a:cubicBezTo>
                      <a:cubicBezTo>
                        <a:pt x="215" y="604"/>
                        <a:pt x="242" y="426"/>
                        <a:pt x="242" y="426"/>
                      </a:cubicBezTo>
                      <a:cubicBezTo>
                        <a:pt x="590" y="650"/>
                        <a:pt x="911" y="471"/>
                        <a:pt x="966" y="437"/>
                      </a:cubicBezTo>
                      <a:cubicBezTo>
                        <a:pt x="977" y="426"/>
                        <a:pt x="983" y="419"/>
                        <a:pt x="983" y="419"/>
                      </a:cubicBezTo>
                      <a:cubicBezTo>
                        <a:pt x="1002" y="642"/>
                        <a:pt x="1154" y="794"/>
                        <a:pt x="1154" y="794"/>
                      </a:cubicBezTo>
                      <a:cubicBezTo>
                        <a:pt x="1141" y="699"/>
                        <a:pt x="1250" y="624"/>
                        <a:pt x="1258" y="619"/>
                      </a:cubicBezTo>
                      <a:cubicBezTo>
                        <a:pt x="1259" y="618"/>
                        <a:pt x="1259" y="618"/>
                        <a:pt x="1259" y="618"/>
                      </a:cubicBezTo>
                      <a:cubicBezTo>
                        <a:pt x="1258" y="615"/>
                        <a:pt x="1258" y="612"/>
                        <a:pt x="1257" y="60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37">
                  <a:extLst>
                    <a:ext uri="{FF2B5EF4-FFF2-40B4-BE49-F238E27FC236}">
                      <a16:creationId xmlns:a16="http://schemas.microsoft.com/office/drawing/2014/main" id="{2EB18486-8279-4A31-AD3D-2591D78EF6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89801" y="3421063"/>
                  <a:ext cx="66675" cy="122238"/>
                </a:xfrm>
                <a:custGeom>
                  <a:avLst/>
                  <a:gdLst>
                    <a:gd name="T0" fmla="*/ 13 w 177"/>
                    <a:gd name="T1" fmla="*/ 149 h 321"/>
                    <a:gd name="T2" fmla="*/ 66 w 177"/>
                    <a:gd name="T3" fmla="*/ 314 h 321"/>
                    <a:gd name="T4" fmla="*/ 164 w 177"/>
                    <a:gd name="T5" fmla="*/ 171 h 321"/>
                    <a:gd name="T6" fmla="*/ 111 w 177"/>
                    <a:gd name="T7" fmla="*/ 6 h 321"/>
                    <a:gd name="T8" fmla="*/ 13 w 177"/>
                    <a:gd name="T9" fmla="*/ 149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7" h="321">
                      <a:moveTo>
                        <a:pt x="13" y="149"/>
                      </a:moveTo>
                      <a:cubicBezTo>
                        <a:pt x="0" y="234"/>
                        <a:pt x="24" y="308"/>
                        <a:pt x="66" y="314"/>
                      </a:cubicBezTo>
                      <a:cubicBezTo>
                        <a:pt x="108" y="321"/>
                        <a:pt x="152" y="257"/>
                        <a:pt x="164" y="171"/>
                      </a:cubicBezTo>
                      <a:cubicBezTo>
                        <a:pt x="177" y="86"/>
                        <a:pt x="153" y="12"/>
                        <a:pt x="111" y="6"/>
                      </a:cubicBezTo>
                      <a:cubicBezTo>
                        <a:pt x="69" y="0"/>
                        <a:pt x="25" y="64"/>
                        <a:pt x="13" y="1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38">
                  <a:extLst>
                    <a:ext uri="{FF2B5EF4-FFF2-40B4-BE49-F238E27FC236}">
                      <a16:creationId xmlns:a16="http://schemas.microsoft.com/office/drawing/2014/main" id="{03A6DB04-45EB-4BCC-869E-508793E44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38951" y="3419475"/>
                  <a:ext cx="58738" cy="117475"/>
                </a:xfrm>
                <a:custGeom>
                  <a:avLst/>
                  <a:gdLst>
                    <a:gd name="T0" fmla="*/ 147 w 155"/>
                    <a:gd name="T1" fmla="*/ 149 h 312"/>
                    <a:gd name="T2" fmla="*/ 92 w 155"/>
                    <a:gd name="T3" fmla="*/ 308 h 312"/>
                    <a:gd name="T4" fmla="*/ 8 w 155"/>
                    <a:gd name="T5" fmla="*/ 163 h 312"/>
                    <a:gd name="T6" fmla="*/ 63 w 155"/>
                    <a:gd name="T7" fmla="*/ 4 h 312"/>
                    <a:gd name="T8" fmla="*/ 147 w 155"/>
                    <a:gd name="T9" fmla="*/ 149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5" h="312">
                      <a:moveTo>
                        <a:pt x="147" y="149"/>
                      </a:moveTo>
                      <a:cubicBezTo>
                        <a:pt x="155" y="233"/>
                        <a:pt x="131" y="304"/>
                        <a:pt x="92" y="308"/>
                      </a:cubicBezTo>
                      <a:cubicBezTo>
                        <a:pt x="54" y="312"/>
                        <a:pt x="16" y="247"/>
                        <a:pt x="8" y="163"/>
                      </a:cubicBezTo>
                      <a:cubicBezTo>
                        <a:pt x="0" y="79"/>
                        <a:pt x="25" y="7"/>
                        <a:pt x="63" y="4"/>
                      </a:cubicBezTo>
                      <a:cubicBezTo>
                        <a:pt x="102" y="0"/>
                        <a:pt x="139" y="65"/>
                        <a:pt x="147" y="149"/>
                      </a:cubicBezTo>
                      <a:close/>
                    </a:path>
                  </a:pathLst>
                </a:custGeom>
                <a:solidFill>
                  <a:srgbClr val="DADB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38">
                  <a:extLst>
                    <a:ext uri="{FF2B5EF4-FFF2-40B4-BE49-F238E27FC236}">
                      <a16:creationId xmlns:a16="http://schemas.microsoft.com/office/drawing/2014/main" id="{78E49AE1-DC5A-490E-9266-DDF59CC2B1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7738" y="3419475"/>
                  <a:ext cx="58738" cy="117475"/>
                </a:xfrm>
                <a:custGeom>
                  <a:avLst/>
                  <a:gdLst>
                    <a:gd name="T0" fmla="*/ 147 w 155"/>
                    <a:gd name="T1" fmla="*/ 149 h 312"/>
                    <a:gd name="T2" fmla="*/ 92 w 155"/>
                    <a:gd name="T3" fmla="*/ 308 h 312"/>
                    <a:gd name="T4" fmla="*/ 8 w 155"/>
                    <a:gd name="T5" fmla="*/ 163 h 312"/>
                    <a:gd name="T6" fmla="*/ 63 w 155"/>
                    <a:gd name="T7" fmla="*/ 4 h 312"/>
                    <a:gd name="T8" fmla="*/ 147 w 155"/>
                    <a:gd name="T9" fmla="*/ 149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5" h="312">
                      <a:moveTo>
                        <a:pt x="147" y="149"/>
                      </a:moveTo>
                      <a:cubicBezTo>
                        <a:pt x="155" y="233"/>
                        <a:pt x="131" y="304"/>
                        <a:pt x="92" y="308"/>
                      </a:cubicBezTo>
                      <a:cubicBezTo>
                        <a:pt x="54" y="312"/>
                        <a:pt x="16" y="247"/>
                        <a:pt x="8" y="163"/>
                      </a:cubicBezTo>
                      <a:cubicBezTo>
                        <a:pt x="0" y="79"/>
                        <a:pt x="25" y="7"/>
                        <a:pt x="63" y="4"/>
                      </a:cubicBezTo>
                      <a:cubicBezTo>
                        <a:pt x="102" y="0"/>
                        <a:pt x="139" y="65"/>
                        <a:pt x="147" y="149"/>
                      </a:cubicBezTo>
                      <a:close/>
                    </a:path>
                  </a:pathLst>
                </a:custGeom>
                <a:solidFill>
                  <a:srgbClr val="DADB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1" name="Group 14">
                <a:extLst>
                  <a:ext uri="{FF2B5EF4-FFF2-40B4-BE49-F238E27FC236}">
                    <a16:creationId xmlns:a16="http://schemas.microsoft.com/office/drawing/2014/main" id="{CCED5A6E-ECB7-4468-ABAF-4D9591D8B06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602411" y="5147935"/>
                <a:ext cx="374508" cy="137023"/>
                <a:chOff x="2798" y="2153"/>
                <a:chExt cx="1137" cy="416"/>
              </a:xfrm>
            </p:grpSpPr>
            <p:sp>
              <p:nvSpPr>
                <p:cNvPr id="72" name="Freeform 16">
                  <a:extLst>
                    <a:ext uri="{FF2B5EF4-FFF2-40B4-BE49-F238E27FC236}">
                      <a16:creationId xmlns:a16="http://schemas.microsoft.com/office/drawing/2014/main" id="{798981D9-2317-4418-891C-9E2956848B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3" y="2220"/>
                  <a:ext cx="402" cy="313"/>
                </a:xfrm>
                <a:custGeom>
                  <a:avLst/>
                  <a:gdLst>
                    <a:gd name="T0" fmla="*/ 151 w 169"/>
                    <a:gd name="T1" fmla="*/ 101 h 130"/>
                    <a:gd name="T2" fmla="*/ 169 w 169"/>
                    <a:gd name="T3" fmla="*/ 39 h 130"/>
                    <a:gd name="T4" fmla="*/ 169 w 169"/>
                    <a:gd name="T5" fmla="*/ 35 h 130"/>
                    <a:gd name="T6" fmla="*/ 158 w 169"/>
                    <a:gd name="T7" fmla="*/ 10 h 130"/>
                    <a:gd name="T8" fmla="*/ 95 w 169"/>
                    <a:gd name="T9" fmla="*/ 0 h 130"/>
                    <a:gd name="T10" fmla="*/ 6 w 169"/>
                    <a:gd name="T11" fmla="*/ 19 h 130"/>
                    <a:gd name="T12" fmla="*/ 3 w 169"/>
                    <a:gd name="T13" fmla="*/ 38 h 130"/>
                    <a:gd name="T14" fmla="*/ 4 w 169"/>
                    <a:gd name="T15" fmla="*/ 41 h 130"/>
                    <a:gd name="T16" fmla="*/ 15 w 169"/>
                    <a:gd name="T17" fmla="*/ 76 h 130"/>
                    <a:gd name="T18" fmla="*/ 94 w 169"/>
                    <a:gd name="T19" fmla="*/ 127 h 130"/>
                    <a:gd name="T20" fmla="*/ 129 w 169"/>
                    <a:gd name="T21" fmla="*/ 118 h 130"/>
                    <a:gd name="T22" fmla="*/ 151 w 169"/>
                    <a:gd name="T23" fmla="*/ 10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9" h="130">
                      <a:moveTo>
                        <a:pt x="151" y="101"/>
                      </a:moveTo>
                      <a:cubicBezTo>
                        <a:pt x="167" y="81"/>
                        <a:pt x="169" y="55"/>
                        <a:pt x="169" y="39"/>
                      </a:cubicBezTo>
                      <a:cubicBezTo>
                        <a:pt x="169" y="37"/>
                        <a:pt x="169" y="36"/>
                        <a:pt x="169" y="35"/>
                      </a:cubicBezTo>
                      <a:cubicBezTo>
                        <a:pt x="169" y="23"/>
                        <a:pt x="166" y="15"/>
                        <a:pt x="158" y="10"/>
                      </a:cubicBezTo>
                      <a:cubicBezTo>
                        <a:pt x="147" y="3"/>
                        <a:pt x="127" y="0"/>
                        <a:pt x="95" y="0"/>
                      </a:cubicBezTo>
                      <a:cubicBezTo>
                        <a:pt x="41" y="0"/>
                        <a:pt x="6" y="19"/>
                        <a:pt x="6" y="19"/>
                      </a:cubicBezTo>
                      <a:cubicBezTo>
                        <a:pt x="0" y="21"/>
                        <a:pt x="2" y="33"/>
                        <a:pt x="3" y="38"/>
                      </a:cubicBezTo>
                      <a:cubicBezTo>
                        <a:pt x="3" y="38"/>
                        <a:pt x="3" y="40"/>
                        <a:pt x="4" y="41"/>
                      </a:cubicBezTo>
                      <a:cubicBezTo>
                        <a:pt x="5" y="48"/>
                        <a:pt x="8" y="62"/>
                        <a:pt x="15" y="76"/>
                      </a:cubicBezTo>
                      <a:cubicBezTo>
                        <a:pt x="27" y="102"/>
                        <a:pt x="51" y="130"/>
                        <a:pt x="94" y="127"/>
                      </a:cubicBezTo>
                      <a:cubicBezTo>
                        <a:pt x="108" y="126"/>
                        <a:pt x="120" y="123"/>
                        <a:pt x="129" y="118"/>
                      </a:cubicBezTo>
                      <a:cubicBezTo>
                        <a:pt x="139" y="114"/>
                        <a:pt x="145" y="108"/>
                        <a:pt x="151" y="101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20">
                  <a:extLst>
                    <a:ext uri="{FF2B5EF4-FFF2-40B4-BE49-F238E27FC236}">
                      <a16:creationId xmlns:a16="http://schemas.microsoft.com/office/drawing/2014/main" id="{7AC4A616-2E55-4783-B62E-6AF0F89F6B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45" y="2300"/>
                  <a:ext cx="0" cy="4"/>
                </a:xfrm>
                <a:custGeom>
                  <a:avLst/>
                  <a:gdLst>
                    <a:gd name="T0" fmla="*/ 4 h 4"/>
                    <a:gd name="T1" fmla="*/ 4 h 4"/>
                    <a:gd name="T2" fmla="*/ 4 h 4"/>
                    <a:gd name="T3" fmla="*/ 4 h 4"/>
                    <a:gd name="T4" fmla="*/ 4 h 4"/>
                    <a:gd name="T5" fmla="*/ 4 h 4"/>
                    <a:gd name="T6" fmla="*/ 4 h 4"/>
                    <a:gd name="T7" fmla="*/ 4 h 4"/>
                    <a:gd name="T8" fmla="*/ 4 h 4"/>
                    <a:gd name="T9" fmla="*/ 2 h 4"/>
                    <a:gd name="T10" fmla="*/ 2 h 4"/>
                    <a:gd name="T11" fmla="*/ 2 h 4"/>
                    <a:gd name="T12" fmla="*/ 2 h 4"/>
                    <a:gd name="T13" fmla="*/ 2 h 4"/>
                    <a:gd name="T14" fmla="*/ 2 h 4"/>
                    <a:gd name="T15" fmla="*/ 2 h 4"/>
                    <a:gd name="T16" fmla="*/ 2 h 4"/>
                    <a:gd name="T17" fmla="*/ 2 h 4"/>
                    <a:gd name="T18" fmla="*/ 0 h 4"/>
                    <a:gd name="T19" fmla="*/ 0 h 4"/>
                    <a:gd name="T20" fmla="*/ 0 h 4"/>
                    <a:gd name="T21" fmla="*/ 0 h 4"/>
                    <a:gd name="T22" fmla="*/ 0 h 4"/>
                    <a:gd name="T23" fmla="*/ 0 h 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  <a:cxn ang="0">
                      <a:pos x="0" y="T21"/>
                    </a:cxn>
                    <a:cxn ang="0">
                      <a:pos x="0" y="T22"/>
                    </a:cxn>
                    <a:cxn ang="0">
                      <a:pos x="0" y="T23"/>
                    </a:cxn>
                  </a:cxnLst>
                  <a:rect l="0" t="0" r="r" b="b"/>
                  <a:pathLst>
                    <a:path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41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21">
                  <a:extLst>
                    <a:ext uri="{FF2B5EF4-FFF2-40B4-BE49-F238E27FC236}">
                      <a16:creationId xmlns:a16="http://schemas.microsoft.com/office/drawing/2014/main" id="{D143069F-4413-48EE-861F-53ED0C66A3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45" y="2300"/>
                  <a:ext cx="0" cy="4"/>
                </a:xfrm>
                <a:custGeom>
                  <a:avLst/>
                  <a:gdLst>
                    <a:gd name="T0" fmla="*/ 4 h 4"/>
                    <a:gd name="T1" fmla="*/ 4 h 4"/>
                    <a:gd name="T2" fmla="*/ 4 h 4"/>
                    <a:gd name="T3" fmla="*/ 4 h 4"/>
                    <a:gd name="T4" fmla="*/ 4 h 4"/>
                    <a:gd name="T5" fmla="*/ 4 h 4"/>
                    <a:gd name="T6" fmla="*/ 4 h 4"/>
                    <a:gd name="T7" fmla="*/ 4 h 4"/>
                    <a:gd name="T8" fmla="*/ 4 h 4"/>
                    <a:gd name="T9" fmla="*/ 2 h 4"/>
                    <a:gd name="T10" fmla="*/ 2 h 4"/>
                    <a:gd name="T11" fmla="*/ 2 h 4"/>
                    <a:gd name="T12" fmla="*/ 2 h 4"/>
                    <a:gd name="T13" fmla="*/ 2 h 4"/>
                    <a:gd name="T14" fmla="*/ 2 h 4"/>
                    <a:gd name="T15" fmla="*/ 2 h 4"/>
                    <a:gd name="T16" fmla="*/ 2 h 4"/>
                    <a:gd name="T17" fmla="*/ 2 h 4"/>
                    <a:gd name="T18" fmla="*/ 0 h 4"/>
                    <a:gd name="T19" fmla="*/ 0 h 4"/>
                    <a:gd name="T20" fmla="*/ 0 h 4"/>
                    <a:gd name="T21" fmla="*/ 0 h 4"/>
                    <a:gd name="T22" fmla="*/ 0 h 4"/>
                    <a:gd name="T23" fmla="*/ 0 h 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  <a:cxn ang="0">
                      <a:pos x="0" y="T21"/>
                    </a:cxn>
                    <a:cxn ang="0">
                      <a:pos x="0" y="T22"/>
                    </a:cxn>
                    <a:cxn ang="0">
                      <a:pos x="0" y="T23"/>
                    </a:cxn>
                  </a:cxnLst>
                  <a:rect l="0" t="0" r="r" b="b"/>
                  <a:pathLst>
                    <a:path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25">
                  <a:extLst>
                    <a:ext uri="{FF2B5EF4-FFF2-40B4-BE49-F238E27FC236}">
                      <a16:creationId xmlns:a16="http://schemas.microsoft.com/office/drawing/2014/main" id="{E4632A82-7160-438C-879A-548C54C6DBB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29" y="2182"/>
                  <a:ext cx="442" cy="363"/>
                </a:xfrm>
                <a:custGeom>
                  <a:avLst/>
                  <a:gdLst>
                    <a:gd name="T0" fmla="*/ 93 w 186"/>
                    <a:gd name="T1" fmla="*/ 143 h 151"/>
                    <a:gd name="T2" fmla="*/ 21 w 186"/>
                    <a:gd name="T3" fmla="*/ 92 h 151"/>
                    <a:gd name="T4" fmla="*/ 10 w 186"/>
                    <a:gd name="T5" fmla="*/ 57 h 151"/>
                    <a:gd name="T6" fmla="*/ 9 w 186"/>
                    <a:gd name="T7" fmla="*/ 54 h 151"/>
                    <a:gd name="T8" fmla="*/ 12 w 186"/>
                    <a:gd name="T9" fmla="*/ 35 h 151"/>
                    <a:gd name="T10" fmla="*/ 101 w 186"/>
                    <a:gd name="T11" fmla="*/ 16 h 151"/>
                    <a:gd name="T12" fmla="*/ 164 w 186"/>
                    <a:gd name="T13" fmla="*/ 26 h 151"/>
                    <a:gd name="T14" fmla="*/ 164 w 186"/>
                    <a:gd name="T15" fmla="*/ 26 h 151"/>
                    <a:gd name="T16" fmla="*/ 175 w 186"/>
                    <a:gd name="T17" fmla="*/ 49 h 151"/>
                    <a:gd name="T18" fmla="*/ 175 w 186"/>
                    <a:gd name="T19" fmla="*/ 49 h 151"/>
                    <a:gd name="T20" fmla="*/ 175 w 186"/>
                    <a:gd name="T21" fmla="*/ 49 h 151"/>
                    <a:gd name="T22" fmla="*/ 175 w 186"/>
                    <a:gd name="T23" fmla="*/ 49 h 151"/>
                    <a:gd name="T24" fmla="*/ 175 w 186"/>
                    <a:gd name="T25" fmla="*/ 50 h 151"/>
                    <a:gd name="T26" fmla="*/ 175 w 186"/>
                    <a:gd name="T27" fmla="*/ 50 h 151"/>
                    <a:gd name="T28" fmla="*/ 175 w 186"/>
                    <a:gd name="T29" fmla="*/ 50 h 151"/>
                    <a:gd name="T30" fmla="*/ 175 w 186"/>
                    <a:gd name="T31" fmla="*/ 50 h 151"/>
                    <a:gd name="T32" fmla="*/ 175 w 186"/>
                    <a:gd name="T33" fmla="*/ 50 h 151"/>
                    <a:gd name="T34" fmla="*/ 175 w 186"/>
                    <a:gd name="T35" fmla="*/ 50 h 151"/>
                    <a:gd name="T36" fmla="*/ 175 w 186"/>
                    <a:gd name="T37" fmla="*/ 51 h 151"/>
                    <a:gd name="T38" fmla="*/ 175 w 186"/>
                    <a:gd name="T39" fmla="*/ 51 h 151"/>
                    <a:gd name="T40" fmla="*/ 175 w 186"/>
                    <a:gd name="T41" fmla="*/ 51 h 151"/>
                    <a:gd name="T42" fmla="*/ 175 w 186"/>
                    <a:gd name="T43" fmla="*/ 51 h 151"/>
                    <a:gd name="T44" fmla="*/ 175 w 186"/>
                    <a:gd name="T45" fmla="*/ 51 h 151"/>
                    <a:gd name="T46" fmla="*/ 175 w 186"/>
                    <a:gd name="T47" fmla="*/ 51 h 151"/>
                    <a:gd name="T48" fmla="*/ 175 w 186"/>
                    <a:gd name="T49" fmla="*/ 51 h 151"/>
                    <a:gd name="T50" fmla="*/ 175 w 186"/>
                    <a:gd name="T51" fmla="*/ 54 h 151"/>
                    <a:gd name="T52" fmla="*/ 175 w 186"/>
                    <a:gd name="T53" fmla="*/ 55 h 151"/>
                    <a:gd name="T54" fmla="*/ 157 w 186"/>
                    <a:gd name="T55" fmla="*/ 117 h 151"/>
                    <a:gd name="T56" fmla="*/ 135 w 186"/>
                    <a:gd name="T57" fmla="*/ 134 h 151"/>
                    <a:gd name="T58" fmla="*/ 100 w 186"/>
                    <a:gd name="T59" fmla="*/ 143 h 151"/>
                    <a:gd name="T60" fmla="*/ 93 w 186"/>
                    <a:gd name="T61" fmla="*/ 143 h 151"/>
                    <a:gd name="T62" fmla="*/ 101 w 186"/>
                    <a:gd name="T63" fmla="*/ 0 h 151"/>
                    <a:gd name="T64" fmla="*/ 0 w 186"/>
                    <a:gd name="T65" fmla="*/ 57 h 151"/>
                    <a:gd name="T66" fmla="*/ 101 w 186"/>
                    <a:gd name="T67" fmla="*/ 151 h 151"/>
                    <a:gd name="T68" fmla="*/ 186 w 186"/>
                    <a:gd name="T69" fmla="*/ 66 h 151"/>
                    <a:gd name="T70" fmla="*/ 101 w 186"/>
                    <a:gd name="T71" fmla="*/ 0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86" h="151">
                      <a:moveTo>
                        <a:pt x="93" y="143"/>
                      </a:moveTo>
                      <a:cubicBezTo>
                        <a:pt x="54" y="143"/>
                        <a:pt x="33" y="117"/>
                        <a:pt x="21" y="92"/>
                      </a:cubicBezTo>
                      <a:cubicBezTo>
                        <a:pt x="14" y="78"/>
                        <a:pt x="11" y="64"/>
                        <a:pt x="10" y="57"/>
                      </a:cubicBezTo>
                      <a:cubicBezTo>
                        <a:pt x="9" y="56"/>
                        <a:pt x="9" y="54"/>
                        <a:pt x="9" y="54"/>
                      </a:cubicBezTo>
                      <a:cubicBezTo>
                        <a:pt x="8" y="49"/>
                        <a:pt x="6" y="37"/>
                        <a:pt x="12" y="35"/>
                      </a:cubicBezTo>
                      <a:cubicBezTo>
                        <a:pt x="12" y="35"/>
                        <a:pt x="47" y="16"/>
                        <a:pt x="101" y="16"/>
                      </a:cubicBezTo>
                      <a:cubicBezTo>
                        <a:pt x="133" y="16"/>
                        <a:pt x="153" y="19"/>
                        <a:pt x="164" y="26"/>
                      </a:cubicBezTo>
                      <a:cubicBezTo>
                        <a:pt x="164" y="26"/>
                        <a:pt x="164" y="26"/>
                        <a:pt x="164" y="26"/>
                      </a:cubicBezTo>
                      <a:cubicBezTo>
                        <a:pt x="171" y="31"/>
                        <a:pt x="174" y="38"/>
                        <a:pt x="175" y="49"/>
                      </a:cubicBezTo>
                      <a:cubicBezTo>
                        <a:pt x="175" y="49"/>
                        <a:pt x="175" y="49"/>
                        <a:pt x="175" y="49"/>
                      </a:cubicBezTo>
                      <a:cubicBezTo>
                        <a:pt x="175" y="49"/>
                        <a:pt x="175" y="49"/>
                        <a:pt x="175" y="49"/>
                      </a:cubicBezTo>
                      <a:cubicBezTo>
                        <a:pt x="175" y="49"/>
                        <a:pt x="175" y="49"/>
                        <a:pt x="175" y="49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0"/>
                        <a:pt x="175" y="50"/>
                        <a:pt x="175" y="50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75" y="52"/>
                        <a:pt x="175" y="53"/>
                        <a:pt x="175" y="54"/>
                      </a:cubicBezTo>
                      <a:cubicBezTo>
                        <a:pt x="175" y="54"/>
                        <a:pt x="175" y="54"/>
                        <a:pt x="175" y="55"/>
                      </a:cubicBezTo>
                      <a:cubicBezTo>
                        <a:pt x="175" y="71"/>
                        <a:pt x="173" y="97"/>
                        <a:pt x="157" y="117"/>
                      </a:cubicBezTo>
                      <a:cubicBezTo>
                        <a:pt x="151" y="124"/>
                        <a:pt x="145" y="130"/>
                        <a:pt x="135" y="134"/>
                      </a:cubicBezTo>
                      <a:cubicBezTo>
                        <a:pt x="126" y="139"/>
                        <a:pt x="114" y="142"/>
                        <a:pt x="100" y="143"/>
                      </a:cubicBezTo>
                      <a:cubicBezTo>
                        <a:pt x="98" y="143"/>
                        <a:pt x="95" y="143"/>
                        <a:pt x="93" y="143"/>
                      </a:cubicBezTo>
                      <a:moveTo>
                        <a:pt x="101" y="0"/>
                      </a:moveTo>
                      <a:cubicBezTo>
                        <a:pt x="54" y="0"/>
                        <a:pt x="0" y="19"/>
                        <a:pt x="0" y="57"/>
                      </a:cubicBezTo>
                      <a:cubicBezTo>
                        <a:pt x="0" y="95"/>
                        <a:pt x="43" y="151"/>
                        <a:pt x="101" y="151"/>
                      </a:cubicBezTo>
                      <a:cubicBezTo>
                        <a:pt x="145" y="151"/>
                        <a:pt x="186" y="104"/>
                        <a:pt x="186" y="66"/>
                      </a:cubicBezTo>
                      <a:cubicBezTo>
                        <a:pt x="186" y="28"/>
                        <a:pt x="148" y="0"/>
                        <a:pt x="101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Line 27">
                  <a:extLst>
                    <a:ext uri="{FF2B5EF4-FFF2-40B4-BE49-F238E27FC236}">
                      <a16:creationId xmlns:a16="http://schemas.microsoft.com/office/drawing/2014/main" id="{B8D012B6-D699-40F4-A650-172BEA27BD9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45" y="2304"/>
                  <a:ext cx="0" cy="0"/>
                </a:xfrm>
                <a:prstGeom prst="lin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Line 28">
                  <a:extLst>
                    <a:ext uri="{FF2B5EF4-FFF2-40B4-BE49-F238E27FC236}">
                      <a16:creationId xmlns:a16="http://schemas.microsoft.com/office/drawing/2014/main" id="{B683A522-6208-4187-91B6-35E31780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45" y="2304"/>
                  <a:ext cx="0" cy="0"/>
                </a:xfrm>
                <a:prstGeom prst="line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30">
                  <a:extLst>
                    <a:ext uri="{FF2B5EF4-FFF2-40B4-BE49-F238E27FC236}">
                      <a16:creationId xmlns:a16="http://schemas.microsoft.com/office/drawing/2014/main" id="{4CD93A40-5B78-4C68-8636-D22ED72562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89" y="2302"/>
                  <a:ext cx="0" cy="10"/>
                </a:xfrm>
                <a:custGeom>
                  <a:avLst/>
                  <a:gdLst>
                    <a:gd name="T0" fmla="*/ 1 h 4"/>
                    <a:gd name="T1" fmla="*/ 4 h 4"/>
                    <a:gd name="T2" fmla="*/ 1 h 4"/>
                    <a:gd name="T3" fmla="*/ 1 h 4"/>
                    <a:gd name="T4" fmla="*/ 1 h 4"/>
                    <a:gd name="T5" fmla="*/ 1 h 4"/>
                    <a:gd name="T6" fmla="*/ 0 h 4"/>
                    <a:gd name="T7" fmla="*/ 1 h 4"/>
                    <a:gd name="T8" fmla="*/ 0 h 4"/>
                    <a:gd name="T9" fmla="*/ 0 h 4"/>
                    <a:gd name="T10" fmla="*/ 0 h 4"/>
                    <a:gd name="T11" fmla="*/ 0 h 4"/>
                    <a:gd name="T12" fmla="*/ 0 h 4"/>
                    <a:gd name="T13" fmla="*/ 0 h 4"/>
                    <a:gd name="T14" fmla="*/ 0 h 4"/>
                    <a:gd name="T15" fmla="*/ 0 h 4"/>
                    <a:gd name="T16" fmla="*/ 0 h 4"/>
                    <a:gd name="T17" fmla="*/ 0 h 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</a:cxnLst>
                  <a:rect l="0" t="0" r="r" b="b"/>
                  <a:pathLst>
                    <a:path h="4">
                      <a:moveTo>
                        <a:pt x="0" y="1"/>
                      </a:moveTo>
                      <a:cubicBezTo>
                        <a:pt x="0" y="2"/>
                        <a:pt x="0" y="3"/>
                        <a:pt x="0" y="4"/>
                      </a:cubicBezTo>
                      <a:cubicBezTo>
                        <a:pt x="0" y="3"/>
                        <a:pt x="0" y="2"/>
                        <a:pt x="0" y="1"/>
                      </a:cubicBezTo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3F41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31">
                  <a:extLst>
                    <a:ext uri="{FF2B5EF4-FFF2-40B4-BE49-F238E27FC236}">
                      <a16:creationId xmlns:a16="http://schemas.microsoft.com/office/drawing/2014/main" id="{9B1B35E9-5807-4410-B98F-4A8B518096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8" y="2153"/>
                  <a:ext cx="1137" cy="416"/>
                </a:xfrm>
                <a:custGeom>
                  <a:avLst/>
                  <a:gdLst>
                    <a:gd name="T0" fmla="*/ 478 w 478"/>
                    <a:gd name="T1" fmla="*/ 59 h 173"/>
                    <a:gd name="T2" fmla="*/ 475 w 478"/>
                    <a:gd name="T3" fmla="*/ 20 h 173"/>
                    <a:gd name="T4" fmla="*/ 435 w 478"/>
                    <a:gd name="T5" fmla="*/ 14 h 173"/>
                    <a:gd name="T6" fmla="*/ 279 w 478"/>
                    <a:gd name="T7" fmla="*/ 20 h 173"/>
                    <a:gd name="T8" fmla="*/ 239 w 478"/>
                    <a:gd name="T9" fmla="*/ 28 h 173"/>
                    <a:gd name="T10" fmla="*/ 199 w 478"/>
                    <a:gd name="T11" fmla="*/ 20 h 173"/>
                    <a:gd name="T12" fmla="*/ 43 w 478"/>
                    <a:gd name="T13" fmla="*/ 14 h 173"/>
                    <a:gd name="T14" fmla="*/ 3 w 478"/>
                    <a:gd name="T15" fmla="*/ 20 h 173"/>
                    <a:gd name="T16" fmla="*/ 0 w 478"/>
                    <a:gd name="T17" fmla="*/ 59 h 173"/>
                    <a:gd name="T18" fmla="*/ 0 w 478"/>
                    <a:gd name="T19" fmla="*/ 61 h 173"/>
                    <a:gd name="T20" fmla="*/ 4 w 478"/>
                    <a:gd name="T21" fmla="*/ 62 h 173"/>
                    <a:gd name="T22" fmla="*/ 20 w 478"/>
                    <a:gd name="T23" fmla="*/ 77 h 173"/>
                    <a:gd name="T24" fmla="*/ 42 w 478"/>
                    <a:gd name="T25" fmla="*/ 139 h 173"/>
                    <a:gd name="T26" fmla="*/ 66 w 478"/>
                    <a:gd name="T27" fmla="*/ 158 h 173"/>
                    <a:gd name="T28" fmla="*/ 113 w 478"/>
                    <a:gd name="T29" fmla="*/ 169 h 173"/>
                    <a:gd name="T30" fmla="*/ 210 w 478"/>
                    <a:gd name="T31" fmla="*/ 102 h 173"/>
                    <a:gd name="T32" fmla="*/ 217 w 478"/>
                    <a:gd name="T33" fmla="*/ 79 h 173"/>
                    <a:gd name="T34" fmla="*/ 222 w 478"/>
                    <a:gd name="T35" fmla="*/ 73 h 173"/>
                    <a:gd name="T36" fmla="*/ 239 w 478"/>
                    <a:gd name="T37" fmla="*/ 65 h 173"/>
                    <a:gd name="T38" fmla="*/ 256 w 478"/>
                    <a:gd name="T39" fmla="*/ 73 h 173"/>
                    <a:gd name="T40" fmla="*/ 260 w 478"/>
                    <a:gd name="T41" fmla="*/ 79 h 173"/>
                    <a:gd name="T42" fmla="*/ 267 w 478"/>
                    <a:gd name="T43" fmla="*/ 102 h 173"/>
                    <a:gd name="T44" fmla="*/ 365 w 478"/>
                    <a:gd name="T45" fmla="*/ 169 h 173"/>
                    <a:gd name="T46" fmla="*/ 413 w 478"/>
                    <a:gd name="T47" fmla="*/ 157 h 173"/>
                    <a:gd name="T48" fmla="*/ 437 w 478"/>
                    <a:gd name="T49" fmla="*/ 138 h 173"/>
                    <a:gd name="T50" fmla="*/ 457 w 478"/>
                    <a:gd name="T51" fmla="*/ 77 h 173"/>
                    <a:gd name="T52" fmla="*/ 474 w 478"/>
                    <a:gd name="T53" fmla="*/ 62 h 173"/>
                    <a:gd name="T54" fmla="*/ 478 w 478"/>
                    <a:gd name="T55" fmla="*/ 61 h 173"/>
                    <a:gd name="T56" fmla="*/ 478 w 478"/>
                    <a:gd name="T57" fmla="*/ 59 h 173"/>
                    <a:gd name="T58" fmla="*/ 113 w 478"/>
                    <a:gd name="T59" fmla="*/ 155 h 173"/>
                    <a:gd name="T60" fmla="*/ 38 w 478"/>
                    <a:gd name="T61" fmla="*/ 63 h 173"/>
                    <a:gd name="T62" fmla="*/ 112 w 478"/>
                    <a:gd name="T63" fmla="*/ 28 h 173"/>
                    <a:gd name="T64" fmla="*/ 201 w 478"/>
                    <a:gd name="T65" fmla="*/ 47 h 173"/>
                    <a:gd name="T66" fmla="*/ 204 w 478"/>
                    <a:gd name="T67" fmla="*/ 66 h 173"/>
                    <a:gd name="T68" fmla="*/ 113 w 478"/>
                    <a:gd name="T69" fmla="*/ 155 h 173"/>
                    <a:gd name="T70" fmla="*/ 365 w 478"/>
                    <a:gd name="T71" fmla="*/ 155 h 173"/>
                    <a:gd name="T72" fmla="*/ 274 w 478"/>
                    <a:gd name="T73" fmla="*/ 66 h 173"/>
                    <a:gd name="T74" fmla="*/ 277 w 478"/>
                    <a:gd name="T75" fmla="*/ 47 h 173"/>
                    <a:gd name="T76" fmla="*/ 366 w 478"/>
                    <a:gd name="T77" fmla="*/ 28 h 173"/>
                    <a:gd name="T78" fmla="*/ 440 w 478"/>
                    <a:gd name="T79" fmla="*/ 63 h 173"/>
                    <a:gd name="T80" fmla="*/ 365 w 478"/>
                    <a:gd name="T81" fmla="*/ 155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478" h="173">
                      <a:moveTo>
                        <a:pt x="478" y="59"/>
                      </a:moveTo>
                      <a:cubicBezTo>
                        <a:pt x="475" y="20"/>
                        <a:pt x="475" y="20"/>
                        <a:pt x="475" y="20"/>
                      </a:cubicBezTo>
                      <a:cubicBezTo>
                        <a:pt x="475" y="20"/>
                        <a:pt x="445" y="17"/>
                        <a:pt x="435" y="14"/>
                      </a:cubicBezTo>
                      <a:cubicBezTo>
                        <a:pt x="355" y="0"/>
                        <a:pt x="298" y="13"/>
                        <a:pt x="279" y="20"/>
                      </a:cubicBezTo>
                      <a:cubicBezTo>
                        <a:pt x="260" y="27"/>
                        <a:pt x="239" y="28"/>
                        <a:pt x="239" y="28"/>
                      </a:cubicBezTo>
                      <a:cubicBezTo>
                        <a:pt x="239" y="28"/>
                        <a:pt x="218" y="27"/>
                        <a:pt x="199" y="20"/>
                      </a:cubicBezTo>
                      <a:cubicBezTo>
                        <a:pt x="180" y="13"/>
                        <a:pt x="122" y="0"/>
                        <a:pt x="43" y="14"/>
                      </a:cubicBezTo>
                      <a:cubicBezTo>
                        <a:pt x="32" y="17"/>
                        <a:pt x="3" y="20"/>
                        <a:pt x="3" y="20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59"/>
                        <a:pt x="0" y="61"/>
                        <a:pt x="0" y="61"/>
                      </a:cubicBezTo>
                      <a:cubicBezTo>
                        <a:pt x="1" y="62"/>
                        <a:pt x="1" y="62"/>
                        <a:pt x="4" y="62"/>
                      </a:cubicBezTo>
                      <a:cubicBezTo>
                        <a:pt x="9" y="62"/>
                        <a:pt x="19" y="65"/>
                        <a:pt x="20" y="77"/>
                      </a:cubicBezTo>
                      <a:cubicBezTo>
                        <a:pt x="22" y="88"/>
                        <a:pt x="23" y="116"/>
                        <a:pt x="42" y="139"/>
                      </a:cubicBezTo>
                      <a:cubicBezTo>
                        <a:pt x="48" y="146"/>
                        <a:pt x="55" y="153"/>
                        <a:pt x="66" y="158"/>
                      </a:cubicBezTo>
                      <a:cubicBezTo>
                        <a:pt x="78" y="164"/>
                        <a:pt x="93" y="168"/>
                        <a:pt x="113" y="169"/>
                      </a:cubicBezTo>
                      <a:cubicBezTo>
                        <a:pt x="173" y="173"/>
                        <a:pt x="199" y="130"/>
                        <a:pt x="210" y="102"/>
                      </a:cubicBezTo>
                      <a:cubicBezTo>
                        <a:pt x="214" y="92"/>
                        <a:pt x="216" y="83"/>
                        <a:pt x="217" y="79"/>
                      </a:cubicBezTo>
                      <a:cubicBezTo>
                        <a:pt x="218" y="77"/>
                        <a:pt x="220" y="75"/>
                        <a:pt x="222" y="73"/>
                      </a:cubicBezTo>
                      <a:cubicBezTo>
                        <a:pt x="227" y="68"/>
                        <a:pt x="235" y="65"/>
                        <a:pt x="239" y="65"/>
                      </a:cubicBezTo>
                      <a:cubicBezTo>
                        <a:pt x="243" y="65"/>
                        <a:pt x="251" y="68"/>
                        <a:pt x="256" y="73"/>
                      </a:cubicBezTo>
                      <a:cubicBezTo>
                        <a:pt x="258" y="75"/>
                        <a:pt x="260" y="77"/>
                        <a:pt x="260" y="79"/>
                      </a:cubicBezTo>
                      <a:cubicBezTo>
                        <a:pt x="261" y="83"/>
                        <a:pt x="263" y="92"/>
                        <a:pt x="267" y="102"/>
                      </a:cubicBezTo>
                      <a:cubicBezTo>
                        <a:pt x="279" y="130"/>
                        <a:pt x="305" y="173"/>
                        <a:pt x="365" y="169"/>
                      </a:cubicBezTo>
                      <a:cubicBezTo>
                        <a:pt x="385" y="168"/>
                        <a:pt x="401" y="164"/>
                        <a:pt x="413" y="157"/>
                      </a:cubicBezTo>
                      <a:cubicBezTo>
                        <a:pt x="423" y="152"/>
                        <a:pt x="431" y="145"/>
                        <a:pt x="437" y="138"/>
                      </a:cubicBezTo>
                      <a:cubicBezTo>
                        <a:pt x="455" y="116"/>
                        <a:pt x="456" y="88"/>
                        <a:pt x="457" y="77"/>
                      </a:cubicBezTo>
                      <a:cubicBezTo>
                        <a:pt x="459" y="65"/>
                        <a:pt x="469" y="62"/>
                        <a:pt x="474" y="62"/>
                      </a:cubicBezTo>
                      <a:cubicBezTo>
                        <a:pt x="477" y="62"/>
                        <a:pt x="477" y="62"/>
                        <a:pt x="478" y="61"/>
                      </a:cubicBezTo>
                      <a:cubicBezTo>
                        <a:pt x="478" y="61"/>
                        <a:pt x="478" y="59"/>
                        <a:pt x="478" y="59"/>
                      </a:cubicBezTo>
                      <a:close/>
                      <a:moveTo>
                        <a:pt x="113" y="155"/>
                      </a:moveTo>
                      <a:cubicBezTo>
                        <a:pt x="39" y="150"/>
                        <a:pt x="38" y="87"/>
                        <a:pt x="38" y="63"/>
                      </a:cubicBezTo>
                      <a:cubicBezTo>
                        <a:pt x="38" y="34"/>
                        <a:pt x="58" y="28"/>
                        <a:pt x="112" y="28"/>
                      </a:cubicBezTo>
                      <a:cubicBezTo>
                        <a:pt x="166" y="28"/>
                        <a:pt x="201" y="47"/>
                        <a:pt x="201" y="47"/>
                      </a:cubicBezTo>
                      <a:cubicBezTo>
                        <a:pt x="206" y="49"/>
                        <a:pt x="205" y="61"/>
                        <a:pt x="204" y="66"/>
                      </a:cubicBezTo>
                      <a:cubicBezTo>
                        <a:pt x="203" y="71"/>
                        <a:pt x="188" y="161"/>
                        <a:pt x="113" y="155"/>
                      </a:cubicBezTo>
                      <a:close/>
                      <a:moveTo>
                        <a:pt x="365" y="155"/>
                      </a:moveTo>
                      <a:cubicBezTo>
                        <a:pt x="290" y="161"/>
                        <a:pt x="275" y="71"/>
                        <a:pt x="274" y="66"/>
                      </a:cubicBezTo>
                      <a:cubicBezTo>
                        <a:pt x="273" y="61"/>
                        <a:pt x="271" y="49"/>
                        <a:pt x="277" y="47"/>
                      </a:cubicBezTo>
                      <a:cubicBezTo>
                        <a:pt x="277" y="47"/>
                        <a:pt x="312" y="28"/>
                        <a:pt x="366" y="28"/>
                      </a:cubicBezTo>
                      <a:cubicBezTo>
                        <a:pt x="420" y="28"/>
                        <a:pt x="440" y="34"/>
                        <a:pt x="440" y="63"/>
                      </a:cubicBezTo>
                      <a:cubicBezTo>
                        <a:pt x="440" y="87"/>
                        <a:pt x="439" y="150"/>
                        <a:pt x="365" y="155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16">
                  <a:extLst>
                    <a:ext uri="{FF2B5EF4-FFF2-40B4-BE49-F238E27FC236}">
                      <a16:creationId xmlns:a16="http://schemas.microsoft.com/office/drawing/2014/main" id="{0BB95019-77F9-4D90-AF96-2DFEDB456C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879" y="2228"/>
                  <a:ext cx="402" cy="313"/>
                </a:xfrm>
                <a:custGeom>
                  <a:avLst/>
                  <a:gdLst>
                    <a:gd name="T0" fmla="*/ 151 w 169"/>
                    <a:gd name="T1" fmla="*/ 101 h 130"/>
                    <a:gd name="T2" fmla="*/ 169 w 169"/>
                    <a:gd name="T3" fmla="*/ 39 h 130"/>
                    <a:gd name="T4" fmla="*/ 169 w 169"/>
                    <a:gd name="T5" fmla="*/ 35 h 130"/>
                    <a:gd name="T6" fmla="*/ 158 w 169"/>
                    <a:gd name="T7" fmla="*/ 10 h 130"/>
                    <a:gd name="T8" fmla="*/ 95 w 169"/>
                    <a:gd name="T9" fmla="*/ 0 h 130"/>
                    <a:gd name="T10" fmla="*/ 6 w 169"/>
                    <a:gd name="T11" fmla="*/ 19 h 130"/>
                    <a:gd name="T12" fmla="*/ 3 w 169"/>
                    <a:gd name="T13" fmla="*/ 38 h 130"/>
                    <a:gd name="T14" fmla="*/ 4 w 169"/>
                    <a:gd name="T15" fmla="*/ 41 h 130"/>
                    <a:gd name="T16" fmla="*/ 15 w 169"/>
                    <a:gd name="T17" fmla="*/ 76 h 130"/>
                    <a:gd name="T18" fmla="*/ 94 w 169"/>
                    <a:gd name="T19" fmla="*/ 127 h 130"/>
                    <a:gd name="T20" fmla="*/ 129 w 169"/>
                    <a:gd name="T21" fmla="*/ 118 h 130"/>
                    <a:gd name="T22" fmla="*/ 151 w 169"/>
                    <a:gd name="T23" fmla="*/ 101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9" h="130">
                      <a:moveTo>
                        <a:pt x="151" y="101"/>
                      </a:moveTo>
                      <a:cubicBezTo>
                        <a:pt x="167" y="81"/>
                        <a:pt x="169" y="55"/>
                        <a:pt x="169" y="39"/>
                      </a:cubicBezTo>
                      <a:cubicBezTo>
                        <a:pt x="169" y="37"/>
                        <a:pt x="169" y="36"/>
                        <a:pt x="169" y="35"/>
                      </a:cubicBezTo>
                      <a:cubicBezTo>
                        <a:pt x="169" y="23"/>
                        <a:pt x="166" y="15"/>
                        <a:pt x="158" y="10"/>
                      </a:cubicBezTo>
                      <a:cubicBezTo>
                        <a:pt x="147" y="3"/>
                        <a:pt x="127" y="0"/>
                        <a:pt x="95" y="0"/>
                      </a:cubicBezTo>
                      <a:cubicBezTo>
                        <a:pt x="41" y="0"/>
                        <a:pt x="6" y="19"/>
                        <a:pt x="6" y="19"/>
                      </a:cubicBezTo>
                      <a:cubicBezTo>
                        <a:pt x="0" y="21"/>
                        <a:pt x="2" y="33"/>
                        <a:pt x="3" y="38"/>
                      </a:cubicBezTo>
                      <a:cubicBezTo>
                        <a:pt x="3" y="38"/>
                        <a:pt x="3" y="40"/>
                        <a:pt x="4" y="41"/>
                      </a:cubicBezTo>
                      <a:cubicBezTo>
                        <a:pt x="5" y="48"/>
                        <a:pt x="8" y="62"/>
                        <a:pt x="15" y="76"/>
                      </a:cubicBezTo>
                      <a:cubicBezTo>
                        <a:pt x="27" y="102"/>
                        <a:pt x="51" y="130"/>
                        <a:pt x="94" y="127"/>
                      </a:cubicBezTo>
                      <a:cubicBezTo>
                        <a:pt x="108" y="126"/>
                        <a:pt x="120" y="123"/>
                        <a:pt x="129" y="118"/>
                      </a:cubicBezTo>
                      <a:cubicBezTo>
                        <a:pt x="139" y="114"/>
                        <a:pt x="145" y="108"/>
                        <a:pt x="151" y="101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6FAC0099-4C3C-434C-AEA8-62D3332E3259}"/>
                </a:ext>
              </a:extLst>
            </p:cNvPr>
            <p:cNvGrpSpPr/>
            <p:nvPr/>
          </p:nvGrpSpPr>
          <p:grpSpPr>
            <a:xfrm>
              <a:off x="3561301" y="3463986"/>
              <a:ext cx="287334" cy="351581"/>
              <a:chOff x="3030700" y="4690042"/>
              <a:chExt cx="1107641" cy="1355305"/>
            </a:xfrm>
          </p:grpSpPr>
          <p:sp>
            <p:nvSpPr>
              <p:cNvPr id="111" name="Freeform 465">
                <a:extLst>
                  <a:ext uri="{FF2B5EF4-FFF2-40B4-BE49-F238E27FC236}">
                    <a16:creationId xmlns:a16="http://schemas.microsoft.com/office/drawing/2014/main" id="{8149FA5E-54F6-4325-A5C8-46521F0FC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555" y="5832276"/>
                <a:ext cx="153206" cy="109830"/>
              </a:xfrm>
              <a:custGeom>
                <a:avLst/>
                <a:gdLst>
                  <a:gd name="T0" fmla="*/ 0 w 312"/>
                  <a:gd name="T1" fmla="*/ 208 h 208"/>
                  <a:gd name="T2" fmla="*/ 311 w 312"/>
                  <a:gd name="T3" fmla="*/ 208 h 208"/>
                  <a:gd name="T4" fmla="*/ 311 w 312"/>
                  <a:gd name="T5" fmla="*/ 208 h 208"/>
                  <a:gd name="T6" fmla="*/ 312 w 312"/>
                  <a:gd name="T7" fmla="*/ 195 h 208"/>
                  <a:gd name="T8" fmla="*/ 312 w 312"/>
                  <a:gd name="T9" fmla="*/ 20 h 208"/>
                  <a:gd name="T10" fmla="*/ 311 w 312"/>
                  <a:gd name="T11" fmla="*/ 0 h 208"/>
                  <a:gd name="T12" fmla="*/ 0 w 312"/>
                  <a:gd name="T13" fmla="*/ 0 h 208"/>
                  <a:gd name="T14" fmla="*/ 0 w 312"/>
                  <a:gd name="T15" fmla="*/ 20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2" h="208">
                    <a:moveTo>
                      <a:pt x="0" y="208"/>
                    </a:moveTo>
                    <a:cubicBezTo>
                      <a:pt x="311" y="208"/>
                      <a:pt x="311" y="208"/>
                      <a:pt x="311" y="208"/>
                    </a:cubicBezTo>
                    <a:cubicBezTo>
                      <a:pt x="311" y="208"/>
                      <a:pt x="311" y="208"/>
                      <a:pt x="311" y="208"/>
                    </a:cubicBezTo>
                    <a:cubicBezTo>
                      <a:pt x="312" y="203"/>
                      <a:pt x="312" y="199"/>
                      <a:pt x="312" y="195"/>
                    </a:cubicBezTo>
                    <a:cubicBezTo>
                      <a:pt x="312" y="20"/>
                      <a:pt x="312" y="20"/>
                      <a:pt x="312" y="20"/>
                    </a:cubicBezTo>
                    <a:cubicBezTo>
                      <a:pt x="312" y="14"/>
                      <a:pt x="312" y="7"/>
                      <a:pt x="31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EF4E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 466">
                <a:extLst>
                  <a:ext uri="{FF2B5EF4-FFF2-40B4-BE49-F238E27FC236}">
                    <a16:creationId xmlns:a16="http://schemas.microsoft.com/office/drawing/2014/main" id="{B93B6163-E33B-4E34-B1A8-6574EB131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279" y="5832276"/>
                <a:ext cx="155277" cy="109830"/>
              </a:xfrm>
              <a:custGeom>
                <a:avLst/>
                <a:gdLst>
                  <a:gd name="T0" fmla="*/ 313 w 313"/>
                  <a:gd name="T1" fmla="*/ 208 h 208"/>
                  <a:gd name="T2" fmla="*/ 313 w 313"/>
                  <a:gd name="T3" fmla="*/ 0 h 208"/>
                  <a:gd name="T4" fmla="*/ 2 w 313"/>
                  <a:gd name="T5" fmla="*/ 0 h 208"/>
                  <a:gd name="T6" fmla="*/ 0 w 313"/>
                  <a:gd name="T7" fmla="*/ 20 h 208"/>
                  <a:gd name="T8" fmla="*/ 0 w 313"/>
                  <a:gd name="T9" fmla="*/ 195 h 208"/>
                  <a:gd name="T10" fmla="*/ 1 w 313"/>
                  <a:gd name="T11" fmla="*/ 208 h 208"/>
                  <a:gd name="T12" fmla="*/ 1 w 313"/>
                  <a:gd name="T13" fmla="*/ 208 h 208"/>
                  <a:gd name="T14" fmla="*/ 313 w 313"/>
                  <a:gd name="T15" fmla="*/ 20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3" h="208">
                    <a:moveTo>
                      <a:pt x="313" y="208"/>
                    </a:moveTo>
                    <a:cubicBezTo>
                      <a:pt x="313" y="0"/>
                      <a:pt x="313" y="0"/>
                      <a:pt x="31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7"/>
                      <a:pt x="0" y="14"/>
                      <a:pt x="0" y="20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0" y="199"/>
                      <a:pt x="1" y="203"/>
                      <a:pt x="1" y="208"/>
                    </a:cubicBezTo>
                    <a:cubicBezTo>
                      <a:pt x="1" y="208"/>
                      <a:pt x="1" y="208"/>
                      <a:pt x="1" y="208"/>
                    </a:cubicBezTo>
                    <a:lnTo>
                      <a:pt x="313" y="208"/>
                    </a:lnTo>
                    <a:close/>
                  </a:path>
                </a:pathLst>
              </a:custGeom>
              <a:solidFill>
                <a:srgbClr val="BA2C2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 467">
                <a:extLst>
                  <a:ext uri="{FF2B5EF4-FFF2-40B4-BE49-F238E27FC236}">
                    <a16:creationId xmlns:a16="http://schemas.microsoft.com/office/drawing/2014/main" id="{5B6B4DBF-1F88-4121-AFCF-55E5B5F457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555" y="5001960"/>
                <a:ext cx="552786" cy="830316"/>
              </a:xfrm>
              <a:custGeom>
                <a:avLst/>
                <a:gdLst>
                  <a:gd name="T0" fmla="*/ 1010 w 1123"/>
                  <a:gd name="T1" fmla="*/ 0 h 1586"/>
                  <a:gd name="T2" fmla="*/ 0 w 1123"/>
                  <a:gd name="T3" fmla="*/ 0 h 1586"/>
                  <a:gd name="T4" fmla="*/ 0 w 1123"/>
                  <a:gd name="T5" fmla="*/ 51 h 1586"/>
                  <a:gd name="T6" fmla="*/ 965 w 1123"/>
                  <a:gd name="T7" fmla="*/ 51 h 1586"/>
                  <a:gd name="T8" fmla="*/ 1073 w 1123"/>
                  <a:gd name="T9" fmla="*/ 150 h 1586"/>
                  <a:gd name="T10" fmla="*/ 1073 w 1123"/>
                  <a:gd name="T11" fmla="*/ 1327 h 1586"/>
                  <a:gd name="T12" fmla="*/ 965 w 1123"/>
                  <a:gd name="T13" fmla="*/ 1425 h 1586"/>
                  <a:gd name="T14" fmla="*/ 0 w 1123"/>
                  <a:gd name="T15" fmla="*/ 1425 h 1586"/>
                  <a:gd name="T16" fmla="*/ 0 w 1123"/>
                  <a:gd name="T17" fmla="*/ 1476 h 1586"/>
                  <a:gd name="T18" fmla="*/ 228 w 1123"/>
                  <a:gd name="T19" fmla="*/ 1476 h 1586"/>
                  <a:gd name="T20" fmla="*/ 228 w 1123"/>
                  <a:gd name="T21" fmla="*/ 1493 h 1586"/>
                  <a:gd name="T22" fmla="*/ 228 w 1123"/>
                  <a:gd name="T23" fmla="*/ 1509 h 1586"/>
                  <a:gd name="T24" fmla="*/ 0 w 1123"/>
                  <a:gd name="T25" fmla="*/ 1509 h 1586"/>
                  <a:gd name="T26" fmla="*/ 0 w 1123"/>
                  <a:gd name="T27" fmla="*/ 1586 h 1586"/>
                  <a:gd name="T28" fmla="*/ 311 w 1123"/>
                  <a:gd name="T29" fmla="*/ 1586 h 1586"/>
                  <a:gd name="T30" fmla="*/ 1010 w 1123"/>
                  <a:gd name="T31" fmla="*/ 1586 h 1586"/>
                  <a:gd name="T32" fmla="*/ 1123 w 1123"/>
                  <a:gd name="T33" fmla="*/ 1473 h 1586"/>
                  <a:gd name="T34" fmla="*/ 1123 w 1123"/>
                  <a:gd name="T35" fmla="*/ 113 h 1586"/>
                  <a:gd name="T36" fmla="*/ 1010 w 1123"/>
                  <a:gd name="T37" fmla="*/ 0 h 1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3" h="1586">
                    <a:moveTo>
                      <a:pt x="10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965" y="51"/>
                      <a:pt x="965" y="51"/>
                      <a:pt x="965" y="51"/>
                    </a:cubicBezTo>
                    <a:cubicBezTo>
                      <a:pt x="1025" y="51"/>
                      <a:pt x="1073" y="95"/>
                      <a:pt x="1073" y="150"/>
                    </a:cubicBezTo>
                    <a:cubicBezTo>
                      <a:pt x="1073" y="1327"/>
                      <a:pt x="1073" y="1327"/>
                      <a:pt x="1073" y="1327"/>
                    </a:cubicBezTo>
                    <a:cubicBezTo>
                      <a:pt x="1073" y="1381"/>
                      <a:pt x="1025" y="1425"/>
                      <a:pt x="965" y="1425"/>
                    </a:cubicBezTo>
                    <a:cubicBezTo>
                      <a:pt x="0" y="1425"/>
                      <a:pt x="0" y="1425"/>
                      <a:pt x="0" y="1425"/>
                    </a:cubicBezTo>
                    <a:cubicBezTo>
                      <a:pt x="0" y="1476"/>
                      <a:pt x="0" y="1476"/>
                      <a:pt x="0" y="1476"/>
                    </a:cubicBezTo>
                    <a:cubicBezTo>
                      <a:pt x="228" y="1476"/>
                      <a:pt x="228" y="1476"/>
                      <a:pt x="228" y="1476"/>
                    </a:cubicBezTo>
                    <a:cubicBezTo>
                      <a:pt x="228" y="1493"/>
                      <a:pt x="228" y="1493"/>
                      <a:pt x="228" y="1493"/>
                    </a:cubicBezTo>
                    <a:cubicBezTo>
                      <a:pt x="228" y="1509"/>
                      <a:pt x="228" y="1509"/>
                      <a:pt x="228" y="1509"/>
                    </a:cubicBezTo>
                    <a:cubicBezTo>
                      <a:pt x="0" y="1509"/>
                      <a:pt x="0" y="1509"/>
                      <a:pt x="0" y="1509"/>
                    </a:cubicBezTo>
                    <a:cubicBezTo>
                      <a:pt x="0" y="1586"/>
                      <a:pt x="0" y="1586"/>
                      <a:pt x="0" y="1586"/>
                    </a:cubicBezTo>
                    <a:cubicBezTo>
                      <a:pt x="311" y="1586"/>
                      <a:pt x="311" y="1586"/>
                      <a:pt x="311" y="1586"/>
                    </a:cubicBezTo>
                    <a:cubicBezTo>
                      <a:pt x="1010" y="1586"/>
                      <a:pt x="1010" y="1586"/>
                      <a:pt x="1010" y="1586"/>
                    </a:cubicBezTo>
                    <a:cubicBezTo>
                      <a:pt x="1072" y="1586"/>
                      <a:pt x="1123" y="1536"/>
                      <a:pt x="1123" y="1473"/>
                    </a:cubicBezTo>
                    <a:cubicBezTo>
                      <a:pt x="1123" y="113"/>
                      <a:pt x="1123" y="113"/>
                      <a:pt x="1123" y="113"/>
                    </a:cubicBezTo>
                    <a:cubicBezTo>
                      <a:pt x="1123" y="51"/>
                      <a:pt x="1072" y="0"/>
                      <a:pt x="1010" y="0"/>
                    </a:cubicBezTo>
                    <a:close/>
                  </a:path>
                </a:pathLst>
              </a:custGeom>
              <a:solidFill>
                <a:srgbClr val="EF4E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 468">
                <a:extLst>
                  <a:ext uri="{FF2B5EF4-FFF2-40B4-BE49-F238E27FC236}">
                    <a16:creationId xmlns:a16="http://schemas.microsoft.com/office/drawing/2014/main" id="{5F342C9A-E223-412F-AE0C-D8D4F66FF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0700" y="5001960"/>
                <a:ext cx="554855" cy="830316"/>
              </a:xfrm>
              <a:custGeom>
                <a:avLst/>
                <a:gdLst>
                  <a:gd name="T0" fmla="*/ 159 w 1124"/>
                  <a:gd name="T1" fmla="*/ 51 h 1586"/>
                  <a:gd name="T2" fmla="*/ 1124 w 1124"/>
                  <a:gd name="T3" fmla="*/ 51 h 1586"/>
                  <a:gd name="T4" fmla="*/ 1124 w 1124"/>
                  <a:gd name="T5" fmla="*/ 0 h 1586"/>
                  <a:gd name="T6" fmla="*/ 114 w 1124"/>
                  <a:gd name="T7" fmla="*/ 0 h 1586"/>
                  <a:gd name="T8" fmla="*/ 0 w 1124"/>
                  <a:gd name="T9" fmla="*/ 113 h 1586"/>
                  <a:gd name="T10" fmla="*/ 0 w 1124"/>
                  <a:gd name="T11" fmla="*/ 1473 h 1586"/>
                  <a:gd name="T12" fmla="*/ 114 w 1124"/>
                  <a:gd name="T13" fmla="*/ 1586 h 1586"/>
                  <a:gd name="T14" fmla="*/ 813 w 1124"/>
                  <a:gd name="T15" fmla="*/ 1586 h 1586"/>
                  <a:gd name="T16" fmla="*/ 1124 w 1124"/>
                  <a:gd name="T17" fmla="*/ 1586 h 1586"/>
                  <a:gd name="T18" fmla="*/ 1124 w 1124"/>
                  <a:gd name="T19" fmla="*/ 1509 h 1586"/>
                  <a:gd name="T20" fmla="*/ 895 w 1124"/>
                  <a:gd name="T21" fmla="*/ 1509 h 1586"/>
                  <a:gd name="T22" fmla="*/ 895 w 1124"/>
                  <a:gd name="T23" fmla="*/ 1493 h 1586"/>
                  <a:gd name="T24" fmla="*/ 895 w 1124"/>
                  <a:gd name="T25" fmla="*/ 1476 h 1586"/>
                  <a:gd name="T26" fmla="*/ 1124 w 1124"/>
                  <a:gd name="T27" fmla="*/ 1476 h 1586"/>
                  <a:gd name="T28" fmla="*/ 1124 w 1124"/>
                  <a:gd name="T29" fmla="*/ 1425 h 1586"/>
                  <a:gd name="T30" fmla="*/ 159 w 1124"/>
                  <a:gd name="T31" fmla="*/ 1425 h 1586"/>
                  <a:gd name="T32" fmla="*/ 50 w 1124"/>
                  <a:gd name="T33" fmla="*/ 1327 h 1586"/>
                  <a:gd name="T34" fmla="*/ 50 w 1124"/>
                  <a:gd name="T35" fmla="*/ 150 h 1586"/>
                  <a:gd name="T36" fmla="*/ 159 w 1124"/>
                  <a:gd name="T37" fmla="*/ 51 h 1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4" h="1586">
                    <a:moveTo>
                      <a:pt x="159" y="51"/>
                    </a:moveTo>
                    <a:cubicBezTo>
                      <a:pt x="1124" y="51"/>
                      <a:pt x="1124" y="51"/>
                      <a:pt x="1124" y="51"/>
                    </a:cubicBezTo>
                    <a:cubicBezTo>
                      <a:pt x="1124" y="0"/>
                      <a:pt x="1124" y="0"/>
                      <a:pt x="112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51" y="0"/>
                      <a:pt x="0" y="51"/>
                      <a:pt x="0" y="113"/>
                    </a:cubicBezTo>
                    <a:cubicBezTo>
                      <a:pt x="0" y="1473"/>
                      <a:pt x="0" y="1473"/>
                      <a:pt x="0" y="1473"/>
                    </a:cubicBezTo>
                    <a:cubicBezTo>
                      <a:pt x="0" y="1536"/>
                      <a:pt x="51" y="1586"/>
                      <a:pt x="114" y="1586"/>
                    </a:cubicBezTo>
                    <a:cubicBezTo>
                      <a:pt x="813" y="1586"/>
                      <a:pt x="813" y="1586"/>
                      <a:pt x="813" y="1586"/>
                    </a:cubicBezTo>
                    <a:cubicBezTo>
                      <a:pt x="1124" y="1586"/>
                      <a:pt x="1124" y="1586"/>
                      <a:pt x="1124" y="1586"/>
                    </a:cubicBezTo>
                    <a:cubicBezTo>
                      <a:pt x="1124" y="1509"/>
                      <a:pt x="1124" y="1509"/>
                      <a:pt x="1124" y="1509"/>
                    </a:cubicBezTo>
                    <a:cubicBezTo>
                      <a:pt x="895" y="1509"/>
                      <a:pt x="895" y="1509"/>
                      <a:pt x="895" y="1509"/>
                    </a:cubicBezTo>
                    <a:cubicBezTo>
                      <a:pt x="895" y="1493"/>
                      <a:pt x="895" y="1493"/>
                      <a:pt x="895" y="1493"/>
                    </a:cubicBezTo>
                    <a:cubicBezTo>
                      <a:pt x="895" y="1476"/>
                      <a:pt x="895" y="1476"/>
                      <a:pt x="895" y="1476"/>
                    </a:cubicBezTo>
                    <a:cubicBezTo>
                      <a:pt x="1124" y="1476"/>
                      <a:pt x="1124" y="1476"/>
                      <a:pt x="1124" y="1476"/>
                    </a:cubicBezTo>
                    <a:cubicBezTo>
                      <a:pt x="1124" y="1425"/>
                      <a:pt x="1124" y="1425"/>
                      <a:pt x="1124" y="1425"/>
                    </a:cubicBezTo>
                    <a:cubicBezTo>
                      <a:pt x="159" y="1425"/>
                      <a:pt x="159" y="1425"/>
                      <a:pt x="159" y="1425"/>
                    </a:cubicBezTo>
                    <a:cubicBezTo>
                      <a:pt x="99" y="1425"/>
                      <a:pt x="50" y="1381"/>
                      <a:pt x="50" y="1327"/>
                    </a:cubicBezTo>
                    <a:cubicBezTo>
                      <a:pt x="50" y="150"/>
                      <a:pt x="50" y="150"/>
                      <a:pt x="50" y="150"/>
                    </a:cubicBezTo>
                    <a:cubicBezTo>
                      <a:pt x="50" y="95"/>
                      <a:pt x="99" y="51"/>
                      <a:pt x="159" y="51"/>
                    </a:cubicBezTo>
                    <a:close/>
                  </a:path>
                </a:pathLst>
              </a:custGeom>
              <a:solidFill>
                <a:srgbClr val="BA2C2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Freeform 469">
                <a:extLst>
                  <a:ext uri="{FF2B5EF4-FFF2-40B4-BE49-F238E27FC236}">
                    <a16:creationId xmlns:a16="http://schemas.microsoft.com/office/drawing/2014/main" id="{A54CB42C-B77B-4FD2-A902-317F2D955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544" y="5028319"/>
                <a:ext cx="1057952" cy="720486"/>
              </a:xfrm>
              <a:custGeom>
                <a:avLst/>
                <a:gdLst>
                  <a:gd name="T0" fmla="*/ 2039 w 2147"/>
                  <a:gd name="T1" fmla="*/ 0 h 1374"/>
                  <a:gd name="T2" fmla="*/ 1074 w 2147"/>
                  <a:gd name="T3" fmla="*/ 0 h 1374"/>
                  <a:gd name="T4" fmla="*/ 109 w 2147"/>
                  <a:gd name="T5" fmla="*/ 0 h 1374"/>
                  <a:gd name="T6" fmla="*/ 0 w 2147"/>
                  <a:gd name="T7" fmla="*/ 99 h 1374"/>
                  <a:gd name="T8" fmla="*/ 0 w 2147"/>
                  <a:gd name="T9" fmla="*/ 1276 h 1374"/>
                  <a:gd name="T10" fmla="*/ 109 w 2147"/>
                  <a:gd name="T11" fmla="*/ 1374 h 1374"/>
                  <a:gd name="T12" fmla="*/ 1074 w 2147"/>
                  <a:gd name="T13" fmla="*/ 1374 h 1374"/>
                  <a:gd name="T14" fmla="*/ 2039 w 2147"/>
                  <a:gd name="T15" fmla="*/ 1374 h 1374"/>
                  <a:gd name="T16" fmla="*/ 2147 w 2147"/>
                  <a:gd name="T17" fmla="*/ 1276 h 1374"/>
                  <a:gd name="T18" fmla="*/ 2147 w 2147"/>
                  <a:gd name="T19" fmla="*/ 99 h 1374"/>
                  <a:gd name="T20" fmla="*/ 2039 w 2147"/>
                  <a:gd name="T21" fmla="*/ 0 h 1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47" h="1374">
                    <a:moveTo>
                      <a:pt x="2039" y="0"/>
                    </a:moveTo>
                    <a:cubicBezTo>
                      <a:pt x="1074" y="0"/>
                      <a:pt x="1074" y="0"/>
                      <a:pt x="1074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49" y="0"/>
                      <a:pt x="0" y="44"/>
                      <a:pt x="0" y="99"/>
                    </a:cubicBezTo>
                    <a:cubicBezTo>
                      <a:pt x="0" y="1276"/>
                      <a:pt x="0" y="1276"/>
                      <a:pt x="0" y="1276"/>
                    </a:cubicBezTo>
                    <a:cubicBezTo>
                      <a:pt x="0" y="1330"/>
                      <a:pt x="49" y="1374"/>
                      <a:pt x="109" y="1374"/>
                    </a:cubicBezTo>
                    <a:cubicBezTo>
                      <a:pt x="1074" y="1374"/>
                      <a:pt x="1074" y="1374"/>
                      <a:pt x="1074" y="1374"/>
                    </a:cubicBezTo>
                    <a:cubicBezTo>
                      <a:pt x="2039" y="1374"/>
                      <a:pt x="2039" y="1374"/>
                      <a:pt x="2039" y="1374"/>
                    </a:cubicBezTo>
                    <a:cubicBezTo>
                      <a:pt x="2099" y="1374"/>
                      <a:pt x="2147" y="1330"/>
                      <a:pt x="2147" y="1276"/>
                    </a:cubicBezTo>
                    <a:cubicBezTo>
                      <a:pt x="2147" y="99"/>
                      <a:pt x="2147" y="99"/>
                      <a:pt x="2147" y="99"/>
                    </a:cubicBezTo>
                    <a:cubicBezTo>
                      <a:pt x="2147" y="44"/>
                      <a:pt x="2099" y="0"/>
                      <a:pt x="2039" y="0"/>
                    </a:cubicBezTo>
                    <a:close/>
                  </a:path>
                </a:pathLst>
              </a:custGeom>
              <a:solidFill>
                <a:srgbClr val="ECE8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 470">
                <a:extLst>
                  <a:ext uri="{FF2B5EF4-FFF2-40B4-BE49-F238E27FC236}">
                    <a16:creationId xmlns:a16="http://schemas.microsoft.com/office/drawing/2014/main" id="{8C38E22F-0DBA-47EF-A335-808687622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283" y="5942106"/>
                <a:ext cx="302272" cy="103241"/>
              </a:xfrm>
              <a:custGeom>
                <a:avLst/>
                <a:gdLst>
                  <a:gd name="T0" fmla="*/ 71 w 146"/>
                  <a:gd name="T1" fmla="*/ 0 h 47"/>
                  <a:gd name="T2" fmla="*/ 71 w 146"/>
                  <a:gd name="T3" fmla="*/ 0 h 47"/>
                  <a:gd name="T4" fmla="*/ 0 w 146"/>
                  <a:gd name="T5" fmla="*/ 47 h 47"/>
                  <a:gd name="T6" fmla="*/ 146 w 146"/>
                  <a:gd name="T7" fmla="*/ 47 h 47"/>
                  <a:gd name="T8" fmla="*/ 146 w 146"/>
                  <a:gd name="T9" fmla="*/ 24 h 47"/>
                  <a:gd name="T10" fmla="*/ 146 w 146"/>
                  <a:gd name="T11" fmla="*/ 0 h 47"/>
                  <a:gd name="T12" fmla="*/ 71 w 146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47">
                    <a:moveTo>
                      <a:pt x="71" y="0"/>
                    </a:moveTo>
                    <a:lnTo>
                      <a:pt x="71" y="0"/>
                    </a:lnTo>
                    <a:lnTo>
                      <a:pt x="0" y="47"/>
                    </a:lnTo>
                    <a:lnTo>
                      <a:pt x="146" y="47"/>
                    </a:lnTo>
                    <a:lnTo>
                      <a:pt x="146" y="24"/>
                    </a:lnTo>
                    <a:lnTo>
                      <a:pt x="146" y="0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BA2C2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Freeform 471">
                <a:extLst>
                  <a:ext uri="{FF2B5EF4-FFF2-40B4-BE49-F238E27FC236}">
                    <a16:creationId xmlns:a16="http://schemas.microsoft.com/office/drawing/2014/main" id="{08F1646D-C37E-408C-BD81-4000949BE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555" y="5942106"/>
                <a:ext cx="298131" cy="103241"/>
              </a:xfrm>
              <a:custGeom>
                <a:avLst/>
                <a:gdLst>
                  <a:gd name="T0" fmla="*/ 74 w 144"/>
                  <a:gd name="T1" fmla="*/ 0 h 47"/>
                  <a:gd name="T2" fmla="*/ 74 w 144"/>
                  <a:gd name="T3" fmla="*/ 0 h 47"/>
                  <a:gd name="T4" fmla="*/ 0 w 144"/>
                  <a:gd name="T5" fmla="*/ 0 h 47"/>
                  <a:gd name="T6" fmla="*/ 0 w 144"/>
                  <a:gd name="T7" fmla="*/ 24 h 47"/>
                  <a:gd name="T8" fmla="*/ 0 w 144"/>
                  <a:gd name="T9" fmla="*/ 47 h 47"/>
                  <a:gd name="T10" fmla="*/ 144 w 144"/>
                  <a:gd name="T11" fmla="*/ 47 h 47"/>
                  <a:gd name="T12" fmla="*/ 74 w 144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4" h="47">
                    <a:moveTo>
                      <a:pt x="74" y="0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0" y="47"/>
                    </a:lnTo>
                    <a:lnTo>
                      <a:pt x="144" y="47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EF4E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Freeform 472">
                <a:extLst>
                  <a:ext uri="{FF2B5EF4-FFF2-40B4-BE49-F238E27FC236}">
                    <a16:creationId xmlns:a16="http://schemas.microsoft.com/office/drawing/2014/main" id="{037E9F3C-1885-4E5D-A2CB-AA575C6984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555" y="5768574"/>
                <a:ext cx="111799" cy="37343"/>
              </a:xfrm>
              <a:custGeom>
                <a:avLst/>
                <a:gdLst>
                  <a:gd name="T0" fmla="*/ 0 w 228"/>
                  <a:gd name="T1" fmla="*/ 0 h 69"/>
                  <a:gd name="T2" fmla="*/ 0 w 228"/>
                  <a:gd name="T3" fmla="*/ 69 h 69"/>
                  <a:gd name="T4" fmla="*/ 228 w 228"/>
                  <a:gd name="T5" fmla="*/ 69 h 69"/>
                  <a:gd name="T6" fmla="*/ 228 w 228"/>
                  <a:gd name="T7" fmla="*/ 2 h 69"/>
                  <a:gd name="T8" fmla="*/ 218 w 228"/>
                  <a:gd name="T9" fmla="*/ 0 h 69"/>
                  <a:gd name="T10" fmla="*/ 0 w 228"/>
                  <a:gd name="T1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69">
                    <a:moveTo>
                      <a:pt x="0" y="0"/>
                    </a:moveTo>
                    <a:cubicBezTo>
                      <a:pt x="0" y="69"/>
                      <a:pt x="0" y="69"/>
                      <a:pt x="0" y="69"/>
                    </a:cubicBezTo>
                    <a:cubicBezTo>
                      <a:pt x="228" y="69"/>
                      <a:pt x="228" y="69"/>
                      <a:pt x="228" y="69"/>
                    </a:cubicBezTo>
                    <a:cubicBezTo>
                      <a:pt x="228" y="2"/>
                      <a:pt x="228" y="2"/>
                      <a:pt x="228" y="2"/>
                    </a:cubicBezTo>
                    <a:cubicBezTo>
                      <a:pt x="225" y="0"/>
                      <a:pt x="222" y="0"/>
                      <a:pt x="21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8F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Freeform 473">
                <a:extLst>
                  <a:ext uri="{FF2B5EF4-FFF2-40B4-BE49-F238E27FC236}">
                    <a16:creationId xmlns:a16="http://schemas.microsoft.com/office/drawing/2014/main" id="{C607F218-171C-437D-8DBD-7D568C37E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686" y="5768574"/>
                <a:ext cx="113870" cy="37343"/>
              </a:xfrm>
              <a:custGeom>
                <a:avLst/>
                <a:gdLst>
                  <a:gd name="T0" fmla="*/ 10 w 229"/>
                  <a:gd name="T1" fmla="*/ 0 h 69"/>
                  <a:gd name="T2" fmla="*/ 0 w 229"/>
                  <a:gd name="T3" fmla="*/ 2 h 69"/>
                  <a:gd name="T4" fmla="*/ 0 w 229"/>
                  <a:gd name="T5" fmla="*/ 69 h 69"/>
                  <a:gd name="T6" fmla="*/ 229 w 229"/>
                  <a:gd name="T7" fmla="*/ 69 h 69"/>
                  <a:gd name="T8" fmla="*/ 229 w 229"/>
                  <a:gd name="T9" fmla="*/ 0 h 69"/>
                  <a:gd name="T10" fmla="*/ 10 w 229"/>
                  <a:gd name="T1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69">
                    <a:moveTo>
                      <a:pt x="10" y="0"/>
                    </a:moveTo>
                    <a:cubicBezTo>
                      <a:pt x="7" y="0"/>
                      <a:pt x="4" y="0"/>
                      <a:pt x="0" y="2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229" y="69"/>
                      <a:pt x="229" y="69"/>
                      <a:pt x="229" y="69"/>
                    </a:cubicBezTo>
                    <a:cubicBezTo>
                      <a:pt x="229" y="0"/>
                      <a:pt x="229" y="0"/>
                      <a:pt x="229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F8F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Freeform 474">
                <a:extLst>
                  <a:ext uri="{FF2B5EF4-FFF2-40B4-BE49-F238E27FC236}">
                    <a16:creationId xmlns:a16="http://schemas.microsoft.com/office/drawing/2014/main" id="{B6629EF1-65F2-4CC2-B220-BC12501D6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414" y="4839411"/>
                <a:ext cx="830213" cy="757829"/>
              </a:xfrm>
              <a:custGeom>
                <a:avLst/>
                <a:gdLst>
                  <a:gd name="T0" fmla="*/ 0 w 1683"/>
                  <a:gd name="T1" fmla="*/ 0 h 1447"/>
                  <a:gd name="T2" fmla="*/ 0 w 1683"/>
                  <a:gd name="T3" fmla="*/ 1395 h 1447"/>
                  <a:gd name="T4" fmla="*/ 52 w 1683"/>
                  <a:gd name="T5" fmla="*/ 1447 h 1447"/>
                  <a:gd name="T6" fmla="*/ 1631 w 1683"/>
                  <a:gd name="T7" fmla="*/ 1447 h 1447"/>
                  <a:gd name="T8" fmla="*/ 1683 w 1683"/>
                  <a:gd name="T9" fmla="*/ 1395 h 1447"/>
                  <a:gd name="T10" fmla="*/ 1683 w 1683"/>
                  <a:gd name="T11" fmla="*/ 0 h 1447"/>
                  <a:gd name="T12" fmla="*/ 0 w 1683"/>
                  <a:gd name="T13" fmla="*/ 0 h 1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3" h="1447">
                    <a:moveTo>
                      <a:pt x="0" y="0"/>
                    </a:moveTo>
                    <a:cubicBezTo>
                      <a:pt x="0" y="1395"/>
                      <a:pt x="0" y="1395"/>
                      <a:pt x="0" y="1395"/>
                    </a:cubicBezTo>
                    <a:cubicBezTo>
                      <a:pt x="0" y="1423"/>
                      <a:pt x="23" y="1447"/>
                      <a:pt x="52" y="1447"/>
                    </a:cubicBezTo>
                    <a:cubicBezTo>
                      <a:pt x="1631" y="1447"/>
                      <a:pt x="1631" y="1447"/>
                      <a:pt x="1631" y="1447"/>
                    </a:cubicBezTo>
                    <a:cubicBezTo>
                      <a:pt x="1660" y="1447"/>
                      <a:pt x="1683" y="1423"/>
                      <a:pt x="1683" y="1395"/>
                    </a:cubicBezTo>
                    <a:cubicBezTo>
                      <a:pt x="1683" y="0"/>
                      <a:pt x="1683" y="0"/>
                      <a:pt x="168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Freeform 475">
                <a:extLst>
                  <a:ext uri="{FF2B5EF4-FFF2-40B4-BE49-F238E27FC236}">
                    <a16:creationId xmlns:a16="http://schemas.microsoft.com/office/drawing/2014/main" id="{3D6AB367-DA95-404C-8929-F6BFABB41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414" y="4690042"/>
                <a:ext cx="830213" cy="149369"/>
              </a:xfrm>
              <a:custGeom>
                <a:avLst/>
                <a:gdLst>
                  <a:gd name="T0" fmla="*/ 1683 w 1683"/>
                  <a:gd name="T1" fmla="*/ 52 h 286"/>
                  <a:gd name="T2" fmla="*/ 1631 w 1683"/>
                  <a:gd name="T3" fmla="*/ 0 h 286"/>
                  <a:gd name="T4" fmla="*/ 52 w 1683"/>
                  <a:gd name="T5" fmla="*/ 0 h 286"/>
                  <a:gd name="T6" fmla="*/ 0 w 1683"/>
                  <a:gd name="T7" fmla="*/ 52 h 286"/>
                  <a:gd name="T8" fmla="*/ 0 w 1683"/>
                  <a:gd name="T9" fmla="*/ 286 h 286"/>
                  <a:gd name="T10" fmla="*/ 1683 w 1683"/>
                  <a:gd name="T11" fmla="*/ 286 h 286"/>
                  <a:gd name="T12" fmla="*/ 1683 w 1683"/>
                  <a:gd name="T13" fmla="*/ 5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3" h="286">
                    <a:moveTo>
                      <a:pt x="1683" y="52"/>
                    </a:moveTo>
                    <a:cubicBezTo>
                      <a:pt x="1683" y="23"/>
                      <a:pt x="1660" y="0"/>
                      <a:pt x="1631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3" y="0"/>
                      <a:pt x="0" y="23"/>
                      <a:pt x="0" y="52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1683" y="286"/>
                      <a:pt x="1683" y="286"/>
                      <a:pt x="1683" y="286"/>
                    </a:cubicBezTo>
                    <a:lnTo>
                      <a:pt x="1683" y="52"/>
                    </a:lnTo>
                    <a:close/>
                  </a:path>
                </a:pathLst>
              </a:custGeom>
              <a:solidFill>
                <a:srgbClr val="FFFFFF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Rectangle 476">
                <a:extLst>
                  <a:ext uri="{FF2B5EF4-FFF2-40B4-BE49-F238E27FC236}">
                    <a16:creationId xmlns:a16="http://schemas.microsoft.com/office/drawing/2014/main" id="{D2566000-B572-4B63-8105-4CD8F32A7D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4743" y="4720794"/>
                <a:ext cx="37266" cy="39539"/>
              </a:xfrm>
              <a:prstGeom prst="rect">
                <a:avLst/>
              </a:prstGeom>
              <a:solidFill>
                <a:srgbClr val="F8F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Freeform 477">
                <a:extLst>
                  <a:ext uri="{FF2B5EF4-FFF2-40B4-BE49-F238E27FC236}">
                    <a16:creationId xmlns:a16="http://schemas.microsoft.com/office/drawing/2014/main" id="{65097B8D-2CE5-48C2-BAD4-93FCBF177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8883" y="4725188"/>
                <a:ext cx="28985" cy="28557"/>
              </a:xfrm>
              <a:custGeom>
                <a:avLst/>
                <a:gdLst>
                  <a:gd name="T0" fmla="*/ 14 w 14"/>
                  <a:gd name="T1" fmla="*/ 3 h 13"/>
                  <a:gd name="T2" fmla="*/ 11 w 14"/>
                  <a:gd name="T3" fmla="*/ 0 h 13"/>
                  <a:gd name="T4" fmla="*/ 7 w 14"/>
                  <a:gd name="T5" fmla="*/ 4 h 13"/>
                  <a:gd name="T6" fmla="*/ 3 w 14"/>
                  <a:gd name="T7" fmla="*/ 0 h 13"/>
                  <a:gd name="T8" fmla="*/ 0 w 14"/>
                  <a:gd name="T9" fmla="*/ 3 h 13"/>
                  <a:gd name="T10" fmla="*/ 4 w 14"/>
                  <a:gd name="T11" fmla="*/ 7 h 13"/>
                  <a:gd name="T12" fmla="*/ 1 w 14"/>
                  <a:gd name="T13" fmla="*/ 11 h 13"/>
                  <a:gd name="T14" fmla="*/ 3 w 14"/>
                  <a:gd name="T15" fmla="*/ 13 h 13"/>
                  <a:gd name="T16" fmla="*/ 7 w 14"/>
                  <a:gd name="T17" fmla="*/ 10 h 13"/>
                  <a:gd name="T18" fmla="*/ 11 w 14"/>
                  <a:gd name="T19" fmla="*/ 13 h 13"/>
                  <a:gd name="T20" fmla="*/ 13 w 14"/>
                  <a:gd name="T21" fmla="*/ 11 h 13"/>
                  <a:gd name="T22" fmla="*/ 10 w 14"/>
                  <a:gd name="T23" fmla="*/ 7 h 13"/>
                  <a:gd name="T24" fmla="*/ 14 w 14"/>
                  <a:gd name="T2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13">
                    <a:moveTo>
                      <a:pt x="14" y="3"/>
                    </a:moveTo>
                    <a:lnTo>
                      <a:pt x="11" y="0"/>
                    </a:lnTo>
                    <a:lnTo>
                      <a:pt x="7" y="4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4" y="7"/>
                    </a:lnTo>
                    <a:lnTo>
                      <a:pt x="1" y="11"/>
                    </a:lnTo>
                    <a:lnTo>
                      <a:pt x="3" y="13"/>
                    </a:lnTo>
                    <a:lnTo>
                      <a:pt x="7" y="10"/>
                    </a:lnTo>
                    <a:lnTo>
                      <a:pt x="11" y="13"/>
                    </a:lnTo>
                    <a:lnTo>
                      <a:pt x="13" y="11"/>
                    </a:lnTo>
                    <a:lnTo>
                      <a:pt x="10" y="7"/>
                    </a:ln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112D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478">
                <a:extLst>
                  <a:ext uri="{FF2B5EF4-FFF2-40B4-BE49-F238E27FC236}">
                    <a16:creationId xmlns:a16="http://schemas.microsoft.com/office/drawing/2014/main" id="{EDA87239-49F1-4787-A5A2-D2E3696ABE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8139" y="4720794"/>
                <a:ext cx="37266" cy="39539"/>
              </a:xfrm>
              <a:prstGeom prst="rect">
                <a:avLst/>
              </a:prstGeom>
              <a:solidFill>
                <a:srgbClr val="F8F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479">
                <a:extLst>
                  <a:ext uri="{FF2B5EF4-FFF2-40B4-BE49-F238E27FC236}">
                    <a16:creationId xmlns:a16="http://schemas.microsoft.com/office/drawing/2014/main" id="{9714D1AA-8095-43FC-B4F1-A89909736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4350" y="4736170"/>
                <a:ext cx="24844" cy="6591"/>
              </a:xfrm>
              <a:prstGeom prst="rect">
                <a:avLst/>
              </a:prstGeom>
              <a:solidFill>
                <a:srgbClr val="112D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480">
                <a:extLst>
                  <a:ext uri="{FF2B5EF4-FFF2-40B4-BE49-F238E27FC236}">
                    <a16:creationId xmlns:a16="http://schemas.microsoft.com/office/drawing/2014/main" id="{28CBC300-B6D7-4E45-B10E-BF3BE9A32F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21173" y="4736170"/>
                <a:ext cx="273287" cy="41736"/>
              </a:xfrm>
              <a:prstGeom prst="rect">
                <a:avLst/>
              </a:prstGeom>
              <a:solidFill>
                <a:srgbClr val="F9BEA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Rectangle 481">
                <a:extLst>
                  <a:ext uri="{FF2B5EF4-FFF2-40B4-BE49-F238E27FC236}">
                    <a16:creationId xmlns:a16="http://schemas.microsoft.com/office/drawing/2014/main" id="{C18FE5D8-07C9-44CC-A888-D9868B2104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595" y="4889932"/>
                <a:ext cx="701851" cy="173532"/>
              </a:xfrm>
              <a:prstGeom prst="rect">
                <a:avLst/>
              </a:prstGeom>
              <a:solidFill>
                <a:srgbClr val="F9BEA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Rectangle 482">
                <a:extLst>
                  <a:ext uri="{FF2B5EF4-FFF2-40B4-BE49-F238E27FC236}">
                    <a16:creationId xmlns:a16="http://schemas.microsoft.com/office/drawing/2014/main" id="{3BAE3C53-B970-48CC-B085-6517F3BD32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595" y="5089824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Rectangle 483">
                <a:extLst>
                  <a:ext uri="{FF2B5EF4-FFF2-40B4-BE49-F238E27FC236}">
                    <a16:creationId xmlns:a16="http://schemas.microsoft.com/office/drawing/2014/main" id="{910337E9-5C95-4A09-A022-B24FEE28C2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2822" y="5089824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Rectangle 484">
                <a:extLst>
                  <a:ext uri="{FF2B5EF4-FFF2-40B4-BE49-F238E27FC236}">
                    <a16:creationId xmlns:a16="http://schemas.microsoft.com/office/drawing/2014/main" id="{3A2A8403-A34D-4BD9-A409-720531CCA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595" y="5157918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Rectangle 485">
                <a:extLst>
                  <a:ext uri="{FF2B5EF4-FFF2-40B4-BE49-F238E27FC236}">
                    <a16:creationId xmlns:a16="http://schemas.microsoft.com/office/drawing/2014/main" id="{04BD4156-ADD5-4FF7-8FB2-C34034CBE2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2822" y="5157918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Rectangle 486">
                <a:extLst>
                  <a:ext uri="{FF2B5EF4-FFF2-40B4-BE49-F238E27FC236}">
                    <a16:creationId xmlns:a16="http://schemas.microsoft.com/office/drawing/2014/main" id="{1DC05C27-FA6B-4096-AFE4-6998BBEF39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595" y="5228209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Rectangle 487">
                <a:extLst>
                  <a:ext uri="{FF2B5EF4-FFF2-40B4-BE49-F238E27FC236}">
                    <a16:creationId xmlns:a16="http://schemas.microsoft.com/office/drawing/2014/main" id="{65D1288A-6128-4850-B2DB-2F61D50FD1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2822" y="5228209"/>
                <a:ext cx="312624" cy="39539"/>
              </a:xfrm>
              <a:prstGeom prst="rect">
                <a:avLst/>
              </a:prstGeom>
              <a:solidFill>
                <a:srgbClr val="E2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Freeform 488">
                <a:extLst>
                  <a:ext uri="{FF2B5EF4-FFF2-40B4-BE49-F238E27FC236}">
                    <a16:creationId xmlns:a16="http://schemas.microsoft.com/office/drawing/2014/main" id="{A2A3C16A-310E-4AD5-9E76-033F86F4F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595" y="5316073"/>
                <a:ext cx="213247" cy="226251"/>
              </a:xfrm>
              <a:custGeom>
                <a:avLst/>
                <a:gdLst>
                  <a:gd name="T0" fmla="*/ 0 w 103"/>
                  <a:gd name="T1" fmla="*/ 0 h 103"/>
                  <a:gd name="T2" fmla="*/ 103 w 103"/>
                  <a:gd name="T3" fmla="*/ 103 h 103"/>
                  <a:gd name="T4" fmla="*/ 103 w 103"/>
                  <a:gd name="T5" fmla="*/ 0 h 103"/>
                  <a:gd name="T6" fmla="*/ 0 w 103"/>
                  <a:gd name="T7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103">
                    <a:moveTo>
                      <a:pt x="0" y="0"/>
                    </a:moveTo>
                    <a:lnTo>
                      <a:pt x="103" y="103"/>
                    </a:lnTo>
                    <a:lnTo>
                      <a:pt x="10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BEA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Freeform 489">
                <a:extLst>
                  <a:ext uri="{FF2B5EF4-FFF2-40B4-BE49-F238E27FC236}">
                    <a16:creationId xmlns:a16="http://schemas.microsoft.com/office/drawing/2014/main" id="{B848C7BA-88AE-4868-A9EA-D0F904EB0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595" y="5316073"/>
                <a:ext cx="213247" cy="226251"/>
              </a:xfrm>
              <a:custGeom>
                <a:avLst/>
                <a:gdLst>
                  <a:gd name="T0" fmla="*/ 0 w 103"/>
                  <a:gd name="T1" fmla="*/ 103 h 103"/>
                  <a:gd name="T2" fmla="*/ 103 w 103"/>
                  <a:gd name="T3" fmla="*/ 103 h 103"/>
                  <a:gd name="T4" fmla="*/ 0 w 103"/>
                  <a:gd name="T5" fmla="*/ 0 h 103"/>
                  <a:gd name="T6" fmla="*/ 0 w 103"/>
                  <a:gd name="T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103">
                    <a:moveTo>
                      <a:pt x="0" y="103"/>
                    </a:moveTo>
                    <a:lnTo>
                      <a:pt x="103" y="103"/>
                    </a:lnTo>
                    <a:lnTo>
                      <a:pt x="0" y="0"/>
                    </a:lnTo>
                    <a:lnTo>
                      <a:pt x="0" y="103"/>
                    </a:lnTo>
                    <a:close/>
                  </a:path>
                </a:pathLst>
              </a:custGeom>
              <a:solidFill>
                <a:srgbClr val="EF4E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Freeform 490">
                <a:extLst>
                  <a:ext uri="{FF2B5EF4-FFF2-40B4-BE49-F238E27FC236}">
                    <a16:creationId xmlns:a16="http://schemas.microsoft.com/office/drawing/2014/main" id="{54A01A39-D012-420E-8BE5-C41A176B4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897" y="5316073"/>
                <a:ext cx="211176" cy="226251"/>
              </a:xfrm>
              <a:custGeom>
                <a:avLst/>
                <a:gdLst>
                  <a:gd name="T0" fmla="*/ 102 w 102"/>
                  <a:gd name="T1" fmla="*/ 103 h 103"/>
                  <a:gd name="T2" fmla="*/ 0 w 102"/>
                  <a:gd name="T3" fmla="*/ 0 h 103"/>
                  <a:gd name="T4" fmla="*/ 0 w 102"/>
                  <a:gd name="T5" fmla="*/ 103 h 103"/>
                  <a:gd name="T6" fmla="*/ 102 w 102"/>
                  <a:gd name="T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2" h="103">
                    <a:moveTo>
                      <a:pt x="102" y="103"/>
                    </a:moveTo>
                    <a:lnTo>
                      <a:pt x="0" y="0"/>
                    </a:lnTo>
                    <a:lnTo>
                      <a:pt x="0" y="103"/>
                    </a:lnTo>
                    <a:lnTo>
                      <a:pt x="102" y="103"/>
                    </a:lnTo>
                    <a:close/>
                  </a:path>
                </a:pathLst>
              </a:custGeom>
              <a:solidFill>
                <a:srgbClr val="EF4E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 491">
                <a:extLst>
                  <a:ext uri="{FF2B5EF4-FFF2-40B4-BE49-F238E27FC236}">
                    <a16:creationId xmlns:a16="http://schemas.microsoft.com/office/drawing/2014/main" id="{EF0E7F5D-434F-4FBC-A87D-D7950CACC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897" y="5316073"/>
                <a:ext cx="213247" cy="226251"/>
              </a:xfrm>
              <a:custGeom>
                <a:avLst/>
                <a:gdLst>
                  <a:gd name="T0" fmla="*/ 103 w 103"/>
                  <a:gd name="T1" fmla="*/ 103 h 103"/>
                  <a:gd name="T2" fmla="*/ 103 w 103"/>
                  <a:gd name="T3" fmla="*/ 0 h 103"/>
                  <a:gd name="T4" fmla="*/ 0 w 103"/>
                  <a:gd name="T5" fmla="*/ 0 h 103"/>
                  <a:gd name="T6" fmla="*/ 0 w 103"/>
                  <a:gd name="T7" fmla="*/ 0 h 103"/>
                  <a:gd name="T8" fmla="*/ 102 w 103"/>
                  <a:gd name="T9" fmla="*/ 103 h 103"/>
                  <a:gd name="T10" fmla="*/ 103 w 103"/>
                  <a:gd name="T11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3">
                    <a:moveTo>
                      <a:pt x="103" y="103"/>
                    </a:moveTo>
                    <a:lnTo>
                      <a:pt x="10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2" y="103"/>
                    </a:lnTo>
                    <a:lnTo>
                      <a:pt x="103" y="103"/>
                    </a:lnTo>
                    <a:close/>
                  </a:path>
                </a:pathLst>
              </a:custGeom>
              <a:solidFill>
                <a:srgbClr val="F9BEA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 492">
                <a:extLst>
                  <a:ext uri="{FF2B5EF4-FFF2-40B4-BE49-F238E27FC236}">
                    <a16:creationId xmlns:a16="http://schemas.microsoft.com/office/drawing/2014/main" id="{AD36D258-1CB5-4CA3-9AA3-437160238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199" y="5316073"/>
                <a:ext cx="213247" cy="226251"/>
              </a:xfrm>
              <a:custGeom>
                <a:avLst/>
                <a:gdLst>
                  <a:gd name="T0" fmla="*/ 103 w 103"/>
                  <a:gd name="T1" fmla="*/ 103 h 103"/>
                  <a:gd name="T2" fmla="*/ 103 w 103"/>
                  <a:gd name="T3" fmla="*/ 0 h 103"/>
                  <a:gd name="T4" fmla="*/ 0 w 103"/>
                  <a:gd name="T5" fmla="*/ 0 h 103"/>
                  <a:gd name="T6" fmla="*/ 0 w 103"/>
                  <a:gd name="T7" fmla="*/ 0 h 103"/>
                  <a:gd name="T8" fmla="*/ 103 w 103"/>
                  <a:gd name="T9" fmla="*/ 103 h 103"/>
                  <a:gd name="T10" fmla="*/ 103 w 103"/>
                  <a:gd name="T11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3">
                    <a:moveTo>
                      <a:pt x="103" y="103"/>
                    </a:moveTo>
                    <a:lnTo>
                      <a:pt x="10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3" y="103"/>
                    </a:lnTo>
                    <a:lnTo>
                      <a:pt x="103" y="103"/>
                    </a:lnTo>
                    <a:close/>
                  </a:path>
                </a:pathLst>
              </a:custGeom>
              <a:solidFill>
                <a:srgbClr val="FF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 493">
                <a:extLst>
                  <a:ext uri="{FF2B5EF4-FFF2-40B4-BE49-F238E27FC236}">
                    <a16:creationId xmlns:a16="http://schemas.microsoft.com/office/drawing/2014/main" id="{2CFD507F-85C0-4F56-ACBC-0A1261E76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199" y="5316073"/>
                <a:ext cx="213247" cy="226251"/>
              </a:xfrm>
              <a:custGeom>
                <a:avLst/>
                <a:gdLst>
                  <a:gd name="T0" fmla="*/ 103 w 103"/>
                  <a:gd name="T1" fmla="*/ 103 h 103"/>
                  <a:gd name="T2" fmla="*/ 0 w 103"/>
                  <a:gd name="T3" fmla="*/ 0 h 103"/>
                  <a:gd name="T4" fmla="*/ 0 w 103"/>
                  <a:gd name="T5" fmla="*/ 103 h 103"/>
                  <a:gd name="T6" fmla="*/ 103 w 103"/>
                  <a:gd name="T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103">
                    <a:moveTo>
                      <a:pt x="103" y="103"/>
                    </a:moveTo>
                    <a:lnTo>
                      <a:pt x="0" y="0"/>
                    </a:lnTo>
                    <a:lnTo>
                      <a:pt x="0" y="103"/>
                    </a:lnTo>
                    <a:lnTo>
                      <a:pt x="103" y="103"/>
                    </a:lnTo>
                    <a:close/>
                  </a:path>
                </a:pathLst>
              </a:custGeom>
              <a:solidFill>
                <a:srgbClr val="ECE8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E176CE5B-2D1D-4967-9A02-AB1CC31D6B60}"/>
                </a:ext>
              </a:extLst>
            </p:cNvPr>
            <p:cNvGrpSpPr/>
            <p:nvPr/>
          </p:nvGrpSpPr>
          <p:grpSpPr>
            <a:xfrm>
              <a:off x="8574726" y="1695486"/>
              <a:ext cx="400783" cy="388312"/>
              <a:chOff x="2974623" y="4930730"/>
              <a:chExt cx="1122363" cy="1087438"/>
            </a:xfrm>
          </p:grpSpPr>
          <p:sp>
            <p:nvSpPr>
              <p:cNvPr id="141" name="Freeform 6">
                <a:extLst>
                  <a:ext uri="{FF2B5EF4-FFF2-40B4-BE49-F238E27FC236}">
                    <a16:creationId xmlns:a16="http://schemas.microsoft.com/office/drawing/2014/main" id="{E431470F-5005-435E-A2C3-D76B431FF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335" y="5472068"/>
                <a:ext cx="176213" cy="195262"/>
              </a:xfrm>
              <a:custGeom>
                <a:avLst/>
                <a:gdLst>
                  <a:gd name="T0" fmla="*/ 59 w 81"/>
                  <a:gd name="T1" fmla="*/ 0 h 90"/>
                  <a:gd name="T2" fmla="*/ 36 w 81"/>
                  <a:gd name="T3" fmla="*/ 23 h 90"/>
                  <a:gd name="T4" fmla="*/ 36 w 81"/>
                  <a:gd name="T5" fmla="*/ 32 h 90"/>
                  <a:gd name="T6" fmla="*/ 0 w 81"/>
                  <a:gd name="T7" fmla="*/ 32 h 90"/>
                  <a:gd name="T8" fmla="*/ 0 w 81"/>
                  <a:gd name="T9" fmla="*/ 58 h 90"/>
                  <a:gd name="T10" fmla="*/ 36 w 81"/>
                  <a:gd name="T11" fmla="*/ 58 h 90"/>
                  <a:gd name="T12" fmla="*/ 36 w 81"/>
                  <a:gd name="T13" fmla="*/ 65 h 90"/>
                  <a:gd name="T14" fmla="*/ 36 w 81"/>
                  <a:gd name="T15" fmla="*/ 68 h 90"/>
                  <a:gd name="T16" fmla="*/ 59 w 81"/>
                  <a:gd name="T17" fmla="*/ 90 h 90"/>
                  <a:gd name="T18" fmla="*/ 81 w 81"/>
                  <a:gd name="T19" fmla="*/ 68 h 90"/>
                  <a:gd name="T20" fmla="*/ 81 w 81"/>
                  <a:gd name="T21" fmla="*/ 23 h 90"/>
                  <a:gd name="T22" fmla="*/ 59 w 81"/>
                  <a:gd name="T2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1" h="90">
                    <a:moveTo>
                      <a:pt x="59" y="0"/>
                    </a:moveTo>
                    <a:cubicBezTo>
                      <a:pt x="46" y="0"/>
                      <a:pt x="36" y="10"/>
                      <a:pt x="36" y="23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6" y="67"/>
                      <a:pt x="36" y="68"/>
                    </a:cubicBezTo>
                    <a:cubicBezTo>
                      <a:pt x="36" y="80"/>
                      <a:pt x="46" y="90"/>
                      <a:pt x="59" y="90"/>
                    </a:cubicBezTo>
                    <a:cubicBezTo>
                      <a:pt x="71" y="90"/>
                      <a:pt x="81" y="80"/>
                      <a:pt x="81" y="68"/>
                    </a:cubicBezTo>
                    <a:cubicBezTo>
                      <a:pt x="81" y="55"/>
                      <a:pt x="81" y="35"/>
                      <a:pt x="81" y="23"/>
                    </a:cubicBezTo>
                    <a:cubicBezTo>
                      <a:pt x="81" y="10"/>
                      <a:pt x="71" y="0"/>
                      <a:pt x="59" y="0"/>
                    </a:cubicBezTo>
                  </a:path>
                </a:pathLst>
              </a:custGeom>
              <a:solidFill>
                <a:srgbClr val="BDD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7">
                <a:extLst>
                  <a:ext uri="{FF2B5EF4-FFF2-40B4-BE49-F238E27FC236}">
                    <a16:creationId xmlns:a16="http://schemas.microsoft.com/office/drawing/2014/main" id="{FFEB0AB2-C635-4EE7-8E99-8B2E37E028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1191" y="4930730"/>
                <a:ext cx="152400" cy="152400"/>
              </a:xfrm>
              <a:prstGeom prst="ellipse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8">
                <a:extLst>
                  <a:ext uri="{FF2B5EF4-FFF2-40B4-BE49-F238E27FC236}">
                    <a16:creationId xmlns:a16="http://schemas.microsoft.com/office/drawing/2014/main" id="{202F89D0-4219-4DC7-938C-AE21113984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2935" y="5222830"/>
                <a:ext cx="174625" cy="146050"/>
              </a:xfrm>
              <a:prstGeom prst="rect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Rectangle 9">
                <a:extLst>
                  <a:ext uri="{FF2B5EF4-FFF2-40B4-BE49-F238E27FC236}">
                    <a16:creationId xmlns:a16="http://schemas.microsoft.com/office/drawing/2014/main" id="{F1FAEEE3-DC83-40F6-99CD-56DE219AF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2935" y="5222830"/>
                <a:ext cx="174625" cy="146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Freeform 10">
                <a:extLst>
                  <a:ext uri="{FF2B5EF4-FFF2-40B4-BE49-F238E27FC236}">
                    <a16:creationId xmlns:a16="http://schemas.microsoft.com/office/drawing/2014/main" id="{17585810-E317-4F35-9688-A01A8C217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873" y="5294268"/>
                <a:ext cx="185738" cy="149225"/>
              </a:xfrm>
              <a:custGeom>
                <a:avLst/>
                <a:gdLst>
                  <a:gd name="T0" fmla="*/ 117 w 117"/>
                  <a:gd name="T1" fmla="*/ 43 h 94"/>
                  <a:gd name="T2" fmla="*/ 22 w 117"/>
                  <a:gd name="T3" fmla="*/ 94 h 94"/>
                  <a:gd name="T4" fmla="*/ 0 w 117"/>
                  <a:gd name="T5" fmla="*/ 51 h 94"/>
                  <a:gd name="T6" fmla="*/ 95 w 117"/>
                  <a:gd name="T7" fmla="*/ 0 h 94"/>
                  <a:gd name="T8" fmla="*/ 117 w 117"/>
                  <a:gd name="T9" fmla="*/ 4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94">
                    <a:moveTo>
                      <a:pt x="117" y="43"/>
                    </a:moveTo>
                    <a:lnTo>
                      <a:pt x="22" y="94"/>
                    </a:lnTo>
                    <a:lnTo>
                      <a:pt x="0" y="51"/>
                    </a:lnTo>
                    <a:lnTo>
                      <a:pt x="95" y="0"/>
                    </a:lnTo>
                    <a:lnTo>
                      <a:pt x="117" y="43"/>
                    </a:lnTo>
                    <a:close/>
                  </a:path>
                </a:pathLst>
              </a:cu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Freeform 11">
                <a:extLst>
                  <a:ext uri="{FF2B5EF4-FFF2-40B4-BE49-F238E27FC236}">
                    <a16:creationId xmlns:a16="http://schemas.microsoft.com/office/drawing/2014/main" id="{55D2A387-4C43-4C4F-983C-AE8BCC399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873" y="5294268"/>
                <a:ext cx="185738" cy="149225"/>
              </a:xfrm>
              <a:custGeom>
                <a:avLst/>
                <a:gdLst>
                  <a:gd name="T0" fmla="*/ 117 w 117"/>
                  <a:gd name="T1" fmla="*/ 43 h 94"/>
                  <a:gd name="T2" fmla="*/ 22 w 117"/>
                  <a:gd name="T3" fmla="*/ 94 h 94"/>
                  <a:gd name="T4" fmla="*/ 0 w 117"/>
                  <a:gd name="T5" fmla="*/ 51 h 94"/>
                  <a:gd name="T6" fmla="*/ 95 w 117"/>
                  <a:gd name="T7" fmla="*/ 0 h 94"/>
                  <a:gd name="T8" fmla="*/ 117 w 117"/>
                  <a:gd name="T9" fmla="*/ 4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94">
                    <a:moveTo>
                      <a:pt x="117" y="43"/>
                    </a:moveTo>
                    <a:lnTo>
                      <a:pt x="22" y="94"/>
                    </a:lnTo>
                    <a:lnTo>
                      <a:pt x="0" y="51"/>
                    </a:lnTo>
                    <a:lnTo>
                      <a:pt x="95" y="0"/>
                    </a:lnTo>
                    <a:lnTo>
                      <a:pt x="117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Freeform 12">
                <a:extLst>
                  <a:ext uri="{FF2B5EF4-FFF2-40B4-BE49-F238E27FC236}">
                    <a16:creationId xmlns:a16="http://schemas.microsoft.com/office/drawing/2014/main" id="{03E680A3-5FC4-4FBB-970A-75861CB24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873" y="5181555"/>
                <a:ext cx="165100" cy="180975"/>
              </a:xfrm>
              <a:custGeom>
                <a:avLst/>
                <a:gdLst>
                  <a:gd name="T0" fmla="*/ 104 w 104"/>
                  <a:gd name="T1" fmla="*/ 29 h 114"/>
                  <a:gd name="T2" fmla="*/ 37 w 104"/>
                  <a:gd name="T3" fmla="*/ 114 h 114"/>
                  <a:gd name="T4" fmla="*/ 0 w 104"/>
                  <a:gd name="T5" fmla="*/ 84 h 114"/>
                  <a:gd name="T6" fmla="*/ 67 w 104"/>
                  <a:gd name="T7" fmla="*/ 0 h 114"/>
                  <a:gd name="T8" fmla="*/ 104 w 104"/>
                  <a:gd name="T9" fmla="*/ 2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14">
                    <a:moveTo>
                      <a:pt x="104" y="29"/>
                    </a:moveTo>
                    <a:lnTo>
                      <a:pt x="37" y="114"/>
                    </a:lnTo>
                    <a:lnTo>
                      <a:pt x="0" y="84"/>
                    </a:lnTo>
                    <a:lnTo>
                      <a:pt x="67" y="0"/>
                    </a:lnTo>
                    <a:lnTo>
                      <a:pt x="104" y="29"/>
                    </a:lnTo>
                    <a:close/>
                  </a:path>
                </a:pathLst>
              </a:cu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reeform 13">
                <a:extLst>
                  <a:ext uri="{FF2B5EF4-FFF2-40B4-BE49-F238E27FC236}">
                    <a16:creationId xmlns:a16="http://schemas.microsoft.com/office/drawing/2014/main" id="{521ECC2C-B4FD-4170-B541-FE1684ED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298" y="5291093"/>
                <a:ext cx="187325" cy="147637"/>
              </a:xfrm>
              <a:custGeom>
                <a:avLst/>
                <a:gdLst>
                  <a:gd name="T0" fmla="*/ 0 w 118"/>
                  <a:gd name="T1" fmla="*/ 42 h 93"/>
                  <a:gd name="T2" fmla="*/ 96 w 118"/>
                  <a:gd name="T3" fmla="*/ 93 h 93"/>
                  <a:gd name="T4" fmla="*/ 118 w 118"/>
                  <a:gd name="T5" fmla="*/ 50 h 93"/>
                  <a:gd name="T6" fmla="*/ 22 w 118"/>
                  <a:gd name="T7" fmla="*/ 0 h 93"/>
                  <a:gd name="T8" fmla="*/ 0 w 118"/>
                  <a:gd name="T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93">
                    <a:moveTo>
                      <a:pt x="0" y="42"/>
                    </a:moveTo>
                    <a:lnTo>
                      <a:pt x="96" y="93"/>
                    </a:lnTo>
                    <a:lnTo>
                      <a:pt x="118" y="50"/>
                    </a:lnTo>
                    <a:lnTo>
                      <a:pt x="22" y="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Freeform 14">
                <a:extLst>
                  <a:ext uri="{FF2B5EF4-FFF2-40B4-BE49-F238E27FC236}">
                    <a16:creationId xmlns:a16="http://schemas.microsoft.com/office/drawing/2014/main" id="{1F46AEB8-D5F3-426F-AFD7-A388F66F0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935" y="5175205"/>
                <a:ext cx="165100" cy="182562"/>
              </a:xfrm>
              <a:custGeom>
                <a:avLst/>
                <a:gdLst>
                  <a:gd name="T0" fmla="*/ 0 w 104"/>
                  <a:gd name="T1" fmla="*/ 30 h 115"/>
                  <a:gd name="T2" fmla="*/ 67 w 104"/>
                  <a:gd name="T3" fmla="*/ 115 h 115"/>
                  <a:gd name="T4" fmla="*/ 104 w 104"/>
                  <a:gd name="T5" fmla="*/ 85 h 115"/>
                  <a:gd name="T6" fmla="*/ 37 w 104"/>
                  <a:gd name="T7" fmla="*/ 0 h 115"/>
                  <a:gd name="T8" fmla="*/ 0 w 104"/>
                  <a:gd name="T9" fmla="*/ 3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15">
                    <a:moveTo>
                      <a:pt x="0" y="30"/>
                    </a:moveTo>
                    <a:lnTo>
                      <a:pt x="67" y="115"/>
                    </a:lnTo>
                    <a:lnTo>
                      <a:pt x="104" y="85"/>
                    </a:lnTo>
                    <a:lnTo>
                      <a:pt x="37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Freeform 15">
                <a:extLst>
                  <a:ext uri="{FF2B5EF4-FFF2-40B4-BE49-F238E27FC236}">
                    <a16:creationId xmlns:a16="http://schemas.microsoft.com/office/drawing/2014/main" id="{7F847995-3E80-4E25-87AC-2CD206F6E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548" y="5076780"/>
                <a:ext cx="198438" cy="198437"/>
              </a:xfrm>
              <a:custGeom>
                <a:avLst/>
                <a:gdLst>
                  <a:gd name="T0" fmla="*/ 66 w 125"/>
                  <a:gd name="T1" fmla="*/ 81 h 125"/>
                  <a:gd name="T2" fmla="*/ 54 w 125"/>
                  <a:gd name="T3" fmla="*/ 70 h 125"/>
                  <a:gd name="T4" fmla="*/ 41 w 125"/>
                  <a:gd name="T5" fmla="*/ 60 h 125"/>
                  <a:gd name="T6" fmla="*/ 76 w 125"/>
                  <a:gd name="T7" fmla="*/ 25 h 125"/>
                  <a:gd name="T8" fmla="*/ 46 w 125"/>
                  <a:gd name="T9" fmla="*/ 0 h 125"/>
                  <a:gd name="T10" fmla="*/ 0 w 125"/>
                  <a:gd name="T11" fmla="*/ 76 h 125"/>
                  <a:gd name="T12" fmla="*/ 59 w 125"/>
                  <a:gd name="T13" fmla="*/ 125 h 125"/>
                  <a:gd name="T14" fmla="*/ 125 w 125"/>
                  <a:gd name="T15" fmla="*/ 66 h 125"/>
                  <a:gd name="T16" fmla="*/ 95 w 125"/>
                  <a:gd name="T17" fmla="*/ 41 h 125"/>
                  <a:gd name="T18" fmla="*/ 66 w 125"/>
                  <a:gd name="T19" fmla="*/ 8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25">
                    <a:moveTo>
                      <a:pt x="66" y="81"/>
                    </a:moveTo>
                    <a:lnTo>
                      <a:pt x="54" y="70"/>
                    </a:lnTo>
                    <a:lnTo>
                      <a:pt x="41" y="60"/>
                    </a:lnTo>
                    <a:lnTo>
                      <a:pt x="76" y="25"/>
                    </a:lnTo>
                    <a:lnTo>
                      <a:pt x="46" y="0"/>
                    </a:lnTo>
                    <a:lnTo>
                      <a:pt x="0" y="76"/>
                    </a:lnTo>
                    <a:lnTo>
                      <a:pt x="59" y="125"/>
                    </a:lnTo>
                    <a:lnTo>
                      <a:pt x="125" y="66"/>
                    </a:lnTo>
                    <a:lnTo>
                      <a:pt x="95" y="41"/>
                    </a:lnTo>
                    <a:lnTo>
                      <a:pt x="66" y="81"/>
                    </a:lnTo>
                    <a:close/>
                  </a:path>
                </a:pathLst>
              </a:custGeom>
              <a:solidFill>
                <a:srgbClr val="BDD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Freeform 16">
                <a:extLst>
                  <a:ext uri="{FF2B5EF4-FFF2-40B4-BE49-F238E27FC236}">
                    <a16:creationId xmlns:a16="http://schemas.microsoft.com/office/drawing/2014/main" id="{0183D5D4-1B54-4056-94E9-BFF00631D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4623" y="5076780"/>
                <a:ext cx="198438" cy="198437"/>
              </a:xfrm>
              <a:custGeom>
                <a:avLst/>
                <a:gdLst>
                  <a:gd name="T0" fmla="*/ 59 w 125"/>
                  <a:gd name="T1" fmla="*/ 81 h 125"/>
                  <a:gd name="T2" fmla="*/ 71 w 125"/>
                  <a:gd name="T3" fmla="*/ 70 h 125"/>
                  <a:gd name="T4" fmla="*/ 83 w 125"/>
                  <a:gd name="T5" fmla="*/ 60 h 125"/>
                  <a:gd name="T6" fmla="*/ 49 w 125"/>
                  <a:gd name="T7" fmla="*/ 25 h 125"/>
                  <a:gd name="T8" fmla="*/ 79 w 125"/>
                  <a:gd name="T9" fmla="*/ 0 h 125"/>
                  <a:gd name="T10" fmla="*/ 125 w 125"/>
                  <a:gd name="T11" fmla="*/ 76 h 125"/>
                  <a:gd name="T12" fmla="*/ 66 w 125"/>
                  <a:gd name="T13" fmla="*/ 125 h 125"/>
                  <a:gd name="T14" fmla="*/ 0 w 125"/>
                  <a:gd name="T15" fmla="*/ 66 h 125"/>
                  <a:gd name="T16" fmla="*/ 30 w 125"/>
                  <a:gd name="T17" fmla="*/ 41 h 125"/>
                  <a:gd name="T18" fmla="*/ 59 w 125"/>
                  <a:gd name="T19" fmla="*/ 8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25">
                    <a:moveTo>
                      <a:pt x="59" y="81"/>
                    </a:moveTo>
                    <a:lnTo>
                      <a:pt x="71" y="70"/>
                    </a:lnTo>
                    <a:lnTo>
                      <a:pt x="83" y="60"/>
                    </a:lnTo>
                    <a:lnTo>
                      <a:pt x="49" y="25"/>
                    </a:lnTo>
                    <a:lnTo>
                      <a:pt x="79" y="0"/>
                    </a:lnTo>
                    <a:lnTo>
                      <a:pt x="125" y="76"/>
                    </a:lnTo>
                    <a:lnTo>
                      <a:pt x="66" y="125"/>
                    </a:lnTo>
                    <a:lnTo>
                      <a:pt x="0" y="66"/>
                    </a:lnTo>
                    <a:lnTo>
                      <a:pt x="30" y="41"/>
                    </a:lnTo>
                    <a:lnTo>
                      <a:pt x="59" y="81"/>
                    </a:lnTo>
                    <a:close/>
                  </a:path>
                </a:pathLst>
              </a:custGeom>
              <a:solidFill>
                <a:srgbClr val="BDD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17">
                <a:extLst>
                  <a:ext uri="{FF2B5EF4-FFF2-40B4-BE49-F238E27FC236}">
                    <a16:creationId xmlns:a16="http://schemas.microsoft.com/office/drawing/2014/main" id="{3454431F-748C-4F70-9E89-FA3F85EA8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4673" y="5757818"/>
                <a:ext cx="69850" cy="260350"/>
              </a:xfrm>
              <a:prstGeom prst="rect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9">
                <a:extLst>
                  <a:ext uri="{FF2B5EF4-FFF2-40B4-BE49-F238E27FC236}">
                    <a16:creationId xmlns:a16="http://schemas.microsoft.com/office/drawing/2014/main" id="{ED7592D9-2D72-4DA9-91DE-80C89AC77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5973" y="5757818"/>
                <a:ext cx="71438" cy="260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Freeform 20">
                <a:extLst>
                  <a:ext uri="{FF2B5EF4-FFF2-40B4-BE49-F238E27FC236}">
                    <a16:creationId xmlns:a16="http://schemas.microsoft.com/office/drawing/2014/main" id="{6AF12321-09BB-47E3-B8E8-935621F04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0698" y="5929268"/>
                <a:ext cx="179388" cy="88900"/>
              </a:xfrm>
              <a:custGeom>
                <a:avLst/>
                <a:gdLst>
                  <a:gd name="T0" fmla="*/ 0 w 82"/>
                  <a:gd name="T1" fmla="*/ 41 h 41"/>
                  <a:gd name="T2" fmla="*/ 41 w 82"/>
                  <a:gd name="T3" fmla="*/ 0 h 41"/>
                  <a:gd name="T4" fmla="*/ 82 w 82"/>
                  <a:gd name="T5" fmla="*/ 41 h 41"/>
                  <a:gd name="T6" fmla="*/ 0 w 82"/>
                  <a:gd name="T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" h="41">
                    <a:moveTo>
                      <a:pt x="0" y="41"/>
                    </a:moveTo>
                    <a:cubicBezTo>
                      <a:pt x="0" y="18"/>
                      <a:pt x="19" y="0"/>
                      <a:pt x="41" y="0"/>
                    </a:cubicBezTo>
                    <a:cubicBezTo>
                      <a:pt x="64" y="0"/>
                      <a:pt x="82" y="18"/>
                      <a:pt x="82" y="41"/>
                    </a:cubicBez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BDD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eform 21">
                <a:extLst>
                  <a:ext uri="{FF2B5EF4-FFF2-40B4-BE49-F238E27FC236}">
                    <a16:creationId xmlns:a16="http://schemas.microsoft.com/office/drawing/2014/main" id="{67869351-668F-4F5C-B9FB-6C6B81FA1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767" y="5929268"/>
                <a:ext cx="179388" cy="88900"/>
              </a:xfrm>
              <a:custGeom>
                <a:avLst/>
                <a:gdLst>
                  <a:gd name="T0" fmla="*/ 0 w 82"/>
                  <a:gd name="T1" fmla="*/ 41 h 41"/>
                  <a:gd name="T2" fmla="*/ 41 w 82"/>
                  <a:gd name="T3" fmla="*/ 0 h 41"/>
                  <a:gd name="T4" fmla="*/ 82 w 82"/>
                  <a:gd name="T5" fmla="*/ 41 h 41"/>
                  <a:gd name="T6" fmla="*/ 0 w 82"/>
                  <a:gd name="T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" h="41">
                    <a:moveTo>
                      <a:pt x="0" y="41"/>
                    </a:moveTo>
                    <a:cubicBezTo>
                      <a:pt x="0" y="18"/>
                      <a:pt x="19" y="0"/>
                      <a:pt x="41" y="0"/>
                    </a:cubicBezTo>
                    <a:cubicBezTo>
                      <a:pt x="64" y="0"/>
                      <a:pt x="82" y="18"/>
                      <a:pt x="82" y="41"/>
                    </a:cubicBezTo>
                    <a:cubicBezTo>
                      <a:pt x="0" y="41"/>
                      <a:pt x="0" y="41"/>
                      <a:pt x="0" y="41"/>
                    </a:cubicBezTo>
                  </a:path>
                </a:pathLst>
              </a:custGeom>
              <a:solidFill>
                <a:srgbClr val="BDDD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22">
                <a:extLst>
                  <a:ext uri="{FF2B5EF4-FFF2-40B4-BE49-F238E27FC236}">
                    <a16:creationId xmlns:a16="http://schemas.microsoft.com/office/drawing/2014/main" id="{29CE5355-5F87-423A-9360-F6EEA26016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98473" y="5308555"/>
                <a:ext cx="463550" cy="466725"/>
              </a:xfrm>
              <a:prstGeom prst="rect">
                <a:avLst/>
              </a:prstGeom>
              <a:solidFill>
                <a:srgbClr val="0058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23">
                <a:extLst>
                  <a:ext uri="{FF2B5EF4-FFF2-40B4-BE49-F238E27FC236}">
                    <a16:creationId xmlns:a16="http://schemas.microsoft.com/office/drawing/2014/main" id="{E28DE07B-9D7B-4D04-BD30-3BEC0F2E74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98473" y="5308555"/>
                <a:ext cx="463550" cy="466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24">
                <a:extLst>
                  <a:ext uri="{FF2B5EF4-FFF2-40B4-BE49-F238E27FC236}">
                    <a16:creationId xmlns:a16="http://schemas.microsoft.com/office/drawing/2014/main" id="{98D7F2FD-468F-4F6E-B314-AAED46F1B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8160" y="5006930"/>
                <a:ext cx="385763" cy="233362"/>
              </a:xfrm>
              <a:prstGeom prst="rect">
                <a:avLst/>
              </a:prstGeom>
              <a:solidFill>
                <a:srgbClr val="0058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Rectangle 25">
                <a:extLst>
                  <a:ext uri="{FF2B5EF4-FFF2-40B4-BE49-F238E27FC236}">
                    <a16:creationId xmlns:a16="http://schemas.microsoft.com/office/drawing/2014/main" id="{17139861-B427-41CB-A42D-68C694E421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8160" y="5006930"/>
                <a:ext cx="385763" cy="233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26">
                <a:extLst>
                  <a:ext uri="{FF2B5EF4-FFF2-40B4-BE49-F238E27FC236}">
                    <a16:creationId xmlns:a16="http://schemas.microsoft.com/office/drawing/2014/main" id="{0FC4FF8A-28A0-412A-A12A-5A790A17E4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385" y="5052968"/>
                <a:ext cx="134938" cy="13493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Oval 27">
                <a:extLst>
                  <a:ext uri="{FF2B5EF4-FFF2-40B4-BE49-F238E27FC236}">
                    <a16:creationId xmlns:a16="http://schemas.microsoft.com/office/drawing/2014/main" id="{5B79D2CF-819D-43D8-8871-599C407670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5173" y="5052968"/>
                <a:ext cx="134938" cy="13493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Oval 28">
                <a:extLst>
                  <a:ext uri="{FF2B5EF4-FFF2-40B4-BE49-F238E27FC236}">
                    <a16:creationId xmlns:a16="http://schemas.microsoft.com/office/drawing/2014/main" id="{490CC7A6-6766-428D-ADFC-2AFF912777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6585" y="5140280"/>
                <a:ext cx="34925" cy="34925"/>
              </a:xfrm>
              <a:prstGeom prst="ellipse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Oval 29">
                <a:extLst>
                  <a:ext uri="{FF2B5EF4-FFF2-40B4-BE49-F238E27FC236}">
                    <a16:creationId xmlns:a16="http://schemas.microsoft.com/office/drawing/2014/main" id="{DBC0A8DA-39C5-4322-AFAA-9935DBE544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1373" y="5140280"/>
                <a:ext cx="34925" cy="34925"/>
              </a:xfrm>
              <a:prstGeom prst="ellipse">
                <a:avLst/>
              </a:prstGeom>
              <a:solidFill>
                <a:srgbClr val="00A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Rectangle 30">
                <a:extLst>
                  <a:ext uri="{FF2B5EF4-FFF2-40B4-BE49-F238E27FC236}">
                    <a16:creationId xmlns:a16="http://schemas.microsoft.com/office/drawing/2014/main" id="{D72A96F0-B139-4510-ABC6-98E197100A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4673" y="5364118"/>
                <a:ext cx="312738" cy="233362"/>
              </a:xfrm>
              <a:prstGeom prst="rect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5" name="Rectangle 31">
                <a:extLst>
                  <a:ext uri="{FF2B5EF4-FFF2-40B4-BE49-F238E27FC236}">
                    <a16:creationId xmlns:a16="http://schemas.microsoft.com/office/drawing/2014/main" id="{049B305E-7A7C-496C-8C19-5DF3ECED1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4673" y="5364118"/>
                <a:ext cx="312738" cy="233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Freeform 124">
                <a:extLst>
                  <a:ext uri="{FF2B5EF4-FFF2-40B4-BE49-F238E27FC236}">
                    <a16:creationId xmlns:a16="http://schemas.microsoft.com/office/drawing/2014/main" id="{84117459-2B10-4692-86A5-6846851C8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023" y="5541918"/>
                <a:ext cx="3175" cy="55562"/>
              </a:xfrm>
              <a:custGeom>
                <a:avLst/>
                <a:gdLst>
                  <a:gd name="T0" fmla="*/ 2 w 2"/>
                  <a:gd name="T1" fmla="*/ 0 h 35"/>
                  <a:gd name="T2" fmla="*/ 0 w 2"/>
                  <a:gd name="T3" fmla="*/ 0 h 35"/>
                  <a:gd name="T4" fmla="*/ 0 w 2"/>
                  <a:gd name="T5" fmla="*/ 35 h 35"/>
                  <a:gd name="T6" fmla="*/ 2 w 2"/>
                  <a:gd name="T7" fmla="*/ 35 h 35"/>
                  <a:gd name="T8" fmla="*/ 2 w 2"/>
                  <a:gd name="T9" fmla="*/ 33 h 35"/>
                  <a:gd name="T10" fmla="*/ 2 w 2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5">
                    <a:moveTo>
                      <a:pt x="2" y="0"/>
                    </a:moveTo>
                    <a:lnTo>
                      <a:pt x="0" y="0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499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Freeform 125">
                <a:extLst>
                  <a:ext uri="{FF2B5EF4-FFF2-40B4-BE49-F238E27FC236}">
                    <a16:creationId xmlns:a16="http://schemas.microsoft.com/office/drawing/2014/main" id="{BA75354A-C395-415E-BDEC-B3A7F244A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023" y="5541918"/>
                <a:ext cx="3175" cy="55562"/>
              </a:xfrm>
              <a:custGeom>
                <a:avLst/>
                <a:gdLst>
                  <a:gd name="T0" fmla="*/ 2 w 2"/>
                  <a:gd name="T1" fmla="*/ 0 h 35"/>
                  <a:gd name="T2" fmla="*/ 0 w 2"/>
                  <a:gd name="T3" fmla="*/ 0 h 35"/>
                  <a:gd name="T4" fmla="*/ 0 w 2"/>
                  <a:gd name="T5" fmla="*/ 35 h 35"/>
                  <a:gd name="T6" fmla="*/ 2 w 2"/>
                  <a:gd name="T7" fmla="*/ 35 h 35"/>
                  <a:gd name="T8" fmla="*/ 2 w 2"/>
                  <a:gd name="T9" fmla="*/ 33 h 35"/>
                  <a:gd name="T10" fmla="*/ 2 w 2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5">
                    <a:moveTo>
                      <a:pt x="2" y="0"/>
                    </a:moveTo>
                    <a:lnTo>
                      <a:pt x="0" y="0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Freeform 126">
                <a:extLst>
                  <a:ext uri="{FF2B5EF4-FFF2-40B4-BE49-F238E27FC236}">
                    <a16:creationId xmlns:a16="http://schemas.microsoft.com/office/drawing/2014/main" id="{53ED5AAA-35AC-4B6F-908E-FBFDC1D46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9773" y="4933111"/>
                <a:ext cx="66675" cy="76200"/>
              </a:xfrm>
              <a:custGeom>
                <a:avLst/>
                <a:gdLst>
                  <a:gd name="T0" fmla="*/ 0 w 31"/>
                  <a:gd name="T1" fmla="*/ 0 h 35"/>
                  <a:gd name="T2" fmla="*/ 0 w 31"/>
                  <a:gd name="T3" fmla="*/ 35 h 35"/>
                  <a:gd name="T4" fmla="*/ 31 w 31"/>
                  <a:gd name="T5" fmla="*/ 35 h 35"/>
                  <a:gd name="T6" fmla="*/ 0 w 31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5">
                    <a:moveTo>
                      <a:pt x="0" y="0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31" y="17"/>
                      <a:pt x="18" y="2"/>
                      <a:pt x="0" y="0"/>
                    </a:cubicBezTo>
                  </a:path>
                </a:pathLst>
              </a:custGeom>
              <a:solidFill>
                <a:srgbClr val="71BE44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Rectangle 127">
                <a:extLst>
                  <a:ext uri="{FF2B5EF4-FFF2-40B4-BE49-F238E27FC236}">
                    <a16:creationId xmlns:a16="http://schemas.microsoft.com/office/drawing/2014/main" id="{237CCBA2-80E3-403A-8DE5-45AAF14A27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9773" y="5240293"/>
                <a:ext cx="77788" cy="68262"/>
              </a:xfrm>
              <a:prstGeom prst="rect">
                <a:avLst/>
              </a:prstGeom>
              <a:solidFill>
                <a:srgbClr val="71BE44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Rectangle 128">
                <a:extLst>
                  <a:ext uri="{FF2B5EF4-FFF2-40B4-BE49-F238E27FC236}">
                    <a16:creationId xmlns:a16="http://schemas.microsoft.com/office/drawing/2014/main" id="{B09D12EB-CB49-451D-9975-C3380E1169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9773" y="5240293"/>
                <a:ext cx="77788" cy="68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Freeform 129">
                <a:extLst>
                  <a:ext uri="{FF2B5EF4-FFF2-40B4-BE49-F238E27FC236}">
                    <a16:creationId xmlns:a16="http://schemas.microsoft.com/office/drawing/2014/main" id="{3771F565-655E-4EBA-87CB-9B90808AD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023" y="5343480"/>
                <a:ext cx="3175" cy="88900"/>
              </a:xfrm>
              <a:custGeom>
                <a:avLst/>
                <a:gdLst>
                  <a:gd name="T0" fmla="*/ 2 w 2"/>
                  <a:gd name="T1" fmla="*/ 0 h 56"/>
                  <a:gd name="T2" fmla="*/ 0 w 2"/>
                  <a:gd name="T3" fmla="*/ 1 h 56"/>
                  <a:gd name="T4" fmla="*/ 0 w 2"/>
                  <a:gd name="T5" fmla="*/ 56 h 56"/>
                  <a:gd name="T6" fmla="*/ 2 w 2"/>
                  <a:gd name="T7" fmla="*/ 55 h 56"/>
                  <a:gd name="T8" fmla="*/ 2 w 2"/>
                  <a:gd name="T9" fmla="*/ 52 h 56"/>
                  <a:gd name="T10" fmla="*/ 2 w 2"/>
                  <a:gd name="T1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6">
                    <a:moveTo>
                      <a:pt x="2" y="0"/>
                    </a:moveTo>
                    <a:lnTo>
                      <a:pt x="0" y="1"/>
                    </a:lnTo>
                    <a:lnTo>
                      <a:pt x="0" y="56"/>
                    </a:lnTo>
                    <a:lnTo>
                      <a:pt x="2" y="55"/>
                    </a:lnTo>
                    <a:lnTo>
                      <a:pt x="2" y="5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96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Freeform 130">
                <a:extLst>
                  <a:ext uri="{FF2B5EF4-FFF2-40B4-BE49-F238E27FC236}">
                    <a16:creationId xmlns:a16="http://schemas.microsoft.com/office/drawing/2014/main" id="{3110273E-AA60-4510-B1AC-5289D9D4D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023" y="5343480"/>
                <a:ext cx="3175" cy="88900"/>
              </a:xfrm>
              <a:custGeom>
                <a:avLst/>
                <a:gdLst>
                  <a:gd name="T0" fmla="*/ 2 w 2"/>
                  <a:gd name="T1" fmla="*/ 0 h 56"/>
                  <a:gd name="T2" fmla="*/ 0 w 2"/>
                  <a:gd name="T3" fmla="*/ 1 h 56"/>
                  <a:gd name="T4" fmla="*/ 0 w 2"/>
                  <a:gd name="T5" fmla="*/ 56 h 56"/>
                  <a:gd name="T6" fmla="*/ 2 w 2"/>
                  <a:gd name="T7" fmla="*/ 55 h 56"/>
                  <a:gd name="T8" fmla="*/ 2 w 2"/>
                  <a:gd name="T9" fmla="*/ 52 h 56"/>
                  <a:gd name="T10" fmla="*/ 2 w 2"/>
                  <a:gd name="T1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6">
                    <a:moveTo>
                      <a:pt x="2" y="0"/>
                    </a:moveTo>
                    <a:lnTo>
                      <a:pt x="0" y="1"/>
                    </a:lnTo>
                    <a:lnTo>
                      <a:pt x="0" y="56"/>
                    </a:lnTo>
                    <a:lnTo>
                      <a:pt x="2" y="55"/>
                    </a:lnTo>
                    <a:lnTo>
                      <a:pt x="2" y="5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Freeform 131">
                <a:extLst>
                  <a:ext uri="{FF2B5EF4-FFF2-40B4-BE49-F238E27FC236}">
                    <a16:creationId xmlns:a16="http://schemas.microsoft.com/office/drawing/2014/main" id="{7D9572DE-BD3A-466E-9FC6-67D971FB1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973" y="5775280"/>
                <a:ext cx="71438" cy="160337"/>
              </a:xfrm>
              <a:custGeom>
                <a:avLst/>
                <a:gdLst>
                  <a:gd name="T0" fmla="*/ 33 w 33"/>
                  <a:gd name="T1" fmla="*/ 0 h 74"/>
                  <a:gd name="T2" fmla="*/ 1 w 33"/>
                  <a:gd name="T3" fmla="*/ 0 h 74"/>
                  <a:gd name="T4" fmla="*/ 1 w 33"/>
                  <a:gd name="T5" fmla="*/ 71 h 74"/>
                  <a:gd name="T6" fmla="*/ 0 w 33"/>
                  <a:gd name="T7" fmla="*/ 72 h 74"/>
                  <a:gd name="T8" fmla="*/ 0 w 33"/>
                  <a:gd name="T9" fmla="*/ 74 h 74"/>
                  <a:gd name="T10" fmla="*/ 16 w 33"/>
                  <a:gd name="T11" fmla="*/ 71 h 74"/>
                  <a:gd name="T12" fmla="*/ 33 w 33"/>
                  <a:gd name="T13" fmla="*/ 74 h 74"/>
                  <a:gd name="T14" fmla="*/ 33 w 33"/>
                  <a:gd name="T1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74">
                    <a:moveTo>
                      <a:pt x="3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2"/>
                      <a:pt x="1" y="72"/>
                      <a:pt x="0" y="72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5" y="72"/>
                      <a:pt x="11" y="71"/>
                      <a:pt x="16" y="71"/>
                    </a:cubicBezTo>
                    <a:cubicBezTo>
                      <a:pt x="22" y="71"/>
                      <a:pt x="28" y="72"/>
                      <a:pt x="33" y="74"/>
                    </a:cubicBezTo>
                    <a:cubicBezTo>
                      <a:pt x="33" y="0"/>
                      <a:pt x="33" y="0"/>
                      <a:pt x="33" y="0"/>
                    </a:cubicBezTo>
                  </a:path>
                </a:pathLst>
              </a:cu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Freeform 132">
                <a:extLst>
                  <a:ext uri="{FF2B5EF4-FFF2-40B4-BE49-F238E27FC236}">
                    <a16:creationId xmlns:a16="http://schemas.microsoft.com/office/drawing/2014/main" id="{C6C1EDAC-88C2-470A-A474-454246B43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530" y="5919800"/>
                <a:ext cx="174625" cy="91543"/>
              </a:xfrm>
              <a:custGeom>
                <a:avLst/>
                <a:gdLst>
                  <a:gd name="T0" fmla="*/ 39 w 80"/>
                  <a:gd name="T1" fmla="*/ 0 h 38"/>
                  <a:gd name="T2" fmla="*/ 23 w 80"/>
                  <a:gd name="T3" fmla="*/ 3 h 38"/>
                  <a:gd name="T4" fmla="*/ 1 w 80"/>
                  <a:gd name="T5" fmla="*/ 26 h 38"/>
                  <a:gd name="T6" fmla="*/ 0 w 80"/>
                  <a:gd name="T7" fmla="*/ 38 h 38"/>
                  <a:gd name="T8" fmla="*/ 24 w 80"/>
                  <a:gd name="T9" fmla="*/ 38 h 38"/>
                  <a:gd name="T10" fmla="*/ 57 w 80"/>
                  <a:gd name="T11" fmla="*/ 38 h 38"/>
                  <a:gd name="T12" fmla="*/ 80 w 80"/>
                  <a:gd name="T13" fmla="*/ 38 h 38"/>
                  <a:gd name="T14" fmla="*/ 56 w 80"/>
                  <a:gd name="T15" fmla="*/ 3 h 38"/>
                  <a:gd name="T16" fmla="*/ 39 w 80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38">
                    <a:moveTo>
                      <a:pt x="39" y="0"/>
                    </a:moveTo>
                    <a:cubicBezTo>
                      <a:pt x="34" y="0"/>
                      <a:pt x="28" y="1"/>
                      <a:pt x="23" y="3"/>
                    </a:cubicBezTo>
                    <a:cubicBezTo>
                      <a:pt x="13" y="7"/>
                      <a:pt x="5" y="16"/>
                      <a:pt x="1" y="26"/>
                    </a:cubicBezTo>
                    <a:cubicBezTo>
                      <a:pt x="0" y="30"/>
                      <a:pt x="0" y="34"/>
                      <a:pt x="0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80" y="38"/>
                      <a:pt x="80" y="38"/>
                      <a:pt x="80" y="38"/>
                    </a:cubicBezTo>
                    <a:cubicBezTo>
                      <a:pt x="79" y="22"/>
                      <a:pt x="69" y="9"/>
                      <a:pt x="56" y="3"/>
                    </a:cubicBezTo>
                    <a:cubicBezTo>
                      <a:pt x="51" y="1"/>
                      <a:pt x="45" y="0"/>
                      <a:pt x="39" y="0"/>
                    </a:cubicBezTo>
                  </a:path>
                </a:pathLst>
              </a:custGeom>
              <a:solidFill>
                <a:srgbClr val="BDDDA3">
                  <a:alpha val="50196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Freeform 134">
                <a:extLst>
                  <a:ext uri="{FF2B5EF4-FFF2-40B4-BE49-F238E27FC236}">
                    <a16:creationId xmlns:a16="http://schemas.microsoft.com/office/drawing/2014/main" id="{AA59F8DD-B828-40CA-8F5F-A2F1655F4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9773" y="5308555"/>
                <a:ext cx="222250" cy="466725"/>
              </a:xfrm>
              <a:custGeom>
                <a:avLst/>
                <a:gdLst>
                  <a:gd name="T0" fmla="*/ 140 w 140"/>
                  <a:gd name="T1" fmla="*/ 0 h 294"/>
                  <a:gd name="T2" fmla="*/ 49 w 140"/>
                  <a:gd name="T3" fmla="*/ 0 h 294"/>
                  <a:gd name="T4" fmla="*/ 0 w 140"/>
                  <a:gd name="T5" fmla="*/ 0 h 294"/>
                  <a:gd name="T6" fmla="*/ 0 w 140"/>
                  <a:gd name="T7" fmla="*/ 35 h 294"/>
                  <a:gd name="T8" fmla="*/ 93 w 140"/>
                  <a:gd name="T9" fmla="*/ 35 h 294"/>
                  <a:gd name="T10" fmla="*/ 93 w 140"/>
                  <a:gd name="T11" fmla="*/ 182 h 294"/>
                  <a:gd name="T12" fmla="*/ 0 w 140"/>
                  <a:gd name="T13" fmla="*/ 182 h 294"/>
                  <a:gd name="T14" fmla="*/ 0 w 140"/>
                  <a:gd name="T15" fmla="*/ 289 h 294"/>
                  <a:gd name="T16" fmla="*/ 49 w 140"/>
                  <a:gd name="T17" fmla="*/ 289 h 294"/>
                  <a:gd name="T18" fmla="*/ 49 w 140"/>
                  <a:gd name="T19" fmla="*/ 294 h 294"/>
                  <a:gd name="T20" fmla="*/ 93 w 140"/>
                  <a:gd name="T21" fmla="*/ 294 h 294"/>
                  <a:gd name="T22" fmla="*/ 94 w 140"/>
                  <a:gd name="T23" fmla="*/ 294 h 294"/>
                  <a:gd name="T24" fmla="*/ 94 w 140"/>
                  <a:gd name="T25" fmla="*/ 289 h 294"/>
                  <a:gd name="T26" fmla="*/ 140 w 140"/>
                  <a:gd name="T27" fmla="*/ 289 h 294"/>
                  <a:gd name="T28" fmla="*/ 140 w 140"/>
                  <a:gd name="T29" fmla="*/ 182 h 294"/>
                  <a:gd name="T30" fmla="*/ 140 w 140"/>
                  <a:gd name="T31" fmla="*/ 147 h 294"/>
                  <a:gd name="T32" fmla="*/ 140 w 140"/>
                  <a:gd name="T33" fmla="*/ 78 h 294"/>
                  <a:gd name="T34" fmla="*/ 140 w 140"/>
                  <a:gd name="T35" fmla="*/ 23 h 294"/>
                  <a:gd name="T36" fmla="*/ 140 w 140"/>
                  <a:gd name="T37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0" h="294">
                    <a:moveTo>
                      <a:pt x="140" y="0"/>
                    </a:moveTo>
                    <a:lnTo>
                      <a:pt x="49" y="0"/>
                    </a:lnTo>
                    <a:lnTo>
                      <a:pt x="0" y="0"/>
                    </a:lnTo>
                    <a:lnTo>
                      <a:pt x="0" y="35"/>
                    </a:lnTo>
                    <a:lnTo>
                      <a:pt x="93" y="35"/>
                    </a:lnTo>
                    <a:lnTo>
                      <a:pt x="93" y="182"/>
                    </a:lnTo>
                    <a:lnTo>
                      <a:pt x="0" y="182"/>
                    </a:lnTo>
                    <a:lnTo>
                      <a:pt x="0" y="289"/>
                    </a:lnTo>
                    <a:lnTo>
                      <a:pt x="49" y="289"/>
                    </a:lnTo>
                    <a:lnTo>
                      <a:pt x="49" y="294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4" y="289"/>
                    </a:lnTo>
                    <a:lnTo>
                      <a:pt x="140" y="289"/>
                    </a:lnTo>
                    <a:lnTo>
                      <a:pt x="140" y="182"/>
                    </a:lnTo>
                    <a:lnTo>
                      <a:pt x="140" y="147"/>
                    </a:lnTo>
                    <a:lnTo>
                      <a:pt x="140" y="78"/>
                    </a:lnTo>
                    <a:lnTo>
                      <a:pt x="140" y="23"/>
                    </a:lnTo>
                    <a:lnTo>
                      <a:pt x="14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Freeform 135">
                <a:extLst>
                  <a:ext uri="{FF2B5EF4-FFF2-40B4-BE49-F238E27FC236}">
                    <a16:creationId xmlns:a16="http://schemas.microsoft.com/office/drawing/2014/main" id="{0AC7D71F-6591-4B69-ADE4-AC62DA10D4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39773" y="5006930"/>
                <a:ext cx="184150" cy="233362"/>
              </a:xfrm>
              <a:custGeom>
                <a:avLst/>
                <a:gdLst>
                  <a:gd name="T0" fmla="*/ 43 w 85"/>
                  <a:gd name="T1" fmla="*/ 83 h 107"/>
                  <a:gd name="T2" fmla="*/ 12 w 85"/>
                  <a:gd name="T3" fmla="*/ 52 h 107"/>
                  <a:gd name="T4" fmla="*/ 43 w 85"/>
                  <a:gd name="T5" fmla="*/ 21 h 107"/>
                  <a:gd name="T6" fmla="*/ 74 w 85"/>
                  <a:gd name="T7" fmla="*/ 52 h 107"/>
                  <a:gd name="T8" fmla="*/ 43 w 85"/>
                  <a:gd name="T9" fmla="*/ 83 h 107"/>
                  <a:gd name="T10" fmla="*/ 85 w 85"/>
                  <a:gd name="T11" fmla="*/ 0 h 107"/>
                  <a:gd name="T12" fmla="*/ 31 w 85"/>
                  <a:gd name="T13" fmla="*/ 0 h 107"/>
                  <a:gd name="T14" fmla="*/ 0 w 85"/>
                  <a:gd name="T15" fmla="*/ 0 h 107"/>
                  <a:gd name="T16" fmla="*/ 0 w 85"/>
                  <a:gd name="T17" fmla="*/ 107 h 107"/>
                  <a:gd name="T18" fmla="*/ 36 w 85"/>
                  <a:gd name="T19" fmla="*/ 107 h 107"/>
                  <a:gd name="T20" fmla="*/ 37 w 85"/>
                  <a:gd name="T21" fmla="*/ 107 h 107"/>
                  <a:gd name="T22" fmla="*/ 37 w 85"/>
                  <a:gd name="T23" fmla="*/ 105 h 107"/>
                  <a:gd name="T24" fmla="*/ 85 w 85"/>
                  <a:gd name="T25" fmla="*/ 105 h 107"/>
                  <a:gd name="T26" fmla="*/ 85 w 85"/>
                  <a:gd name="T27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5" h="107">
                    <a:moveTo>
                      <a:pt x="43" y="83"/>
                    </a:moveTo>
                    <a:cubicBezTo>
                      <a:pt x="26" y="83"/>
                      <a:pt x="12" y="69"/>
                      <a:pt x="12" y="52"/>
                    </a:cubicBezTo>
                    <a:cubicBezTo>
                      <a:pt x="12" y="35"/>
                      <a:pt x="26" y="21"/>
                      <a:pt x="43" y="21"/>
                    </a:cubicBezTo>
                    <a:cubicBezTo>
                      <a:pt x="60" y="21"/>
                      <a:pt x="74" y="35"/>
                      <a:pt x="74" y="52"/>
                    </a:cubicBezTo>
                    <a:cubicBezTo>
                      <a:pt x="74" y="69"/>
                      <a:pt x="60" y="83"/>
                      <a:pt x="43" y="83"/>
                    </a:cubicBezTo>
                    <a:moveTo>
                      <a:pt x="8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36" y="107"/>
                      <a:pt x="36" y="107"/>
                      <a:pt x="36" y="107"/>
                    </a:cubicBezTo>
                    <a:cubicBezTo>
                      <a:pt x="37" y="107"/>
                      <a:pt x="37" y="107"/>
                      <a:pt x="37" y="107"/>
                    </a:cubicBezTo>
                    <a:cubicBezTo>
                      <a:pt x="37" y="105"/>
                      <a:pt x="37" y="105"/>
                      <a:pt x="37" y="105"/>
                    </a:cubicBezTo>
                    <a:cubicBezTo>
                      <a:pt x="85" y="105"/>
                      <a:pt x="85" y="105"/>
                      <a:pt x="85" y="105"/>
                    </a:cubicBezTo>
                    <a:cubicBezTo>
                      <a:pt x="85" y="0"/>
                      <a:pt x="85" y="0"/>
                      <a:pt x="85" y="0"/>
                    </a:cubicBezTo>
                  </a:path>
                </a:pathLst>
              </a:custGeom>
              <a:solidFill>
                <a:srgbClr val="00582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Freeform 136">
                <a:extLst>
                  <a:ext uri="{FF2B5EF4-FFF2-40B4-BE49-F238E27FC236}">
                    <a16:creationId xmlns:a16="http://schemas.microsoft.com/office/drawing/2014/main" id="{887797B7-254C-42FF-B287-F863A0CFF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5173" y="5052968"/>
                <a:ext cx="134938" cy="134937"/>
              </a:xfrm>
              <a:custGeom>
                <a:avLst/>
                <a:gdLst>
                  <a:gd name="T0" fmla="*/ 43 w 62"/>
                  <a:gd name="T1" fmla="*/ 56 h 62"/>
                  <a:gd name="T2" fmla="*/ 35 w 62"/>
                  <a:gd name="T3" fmla="*/ 48 h 62"/>
                  <a:gd name="T4" fmla="*/ 43 w 62"/>
                  <a:gd name="T5" fmla="*/ 40 h 62"/>
                  <a:gd name="T6" fmla="*/ 51 w 62"/>
                  <a:gd name="T7" fmla="*/ 48 h 62"/>
                  <a:gd name="T8" fmla="*/ 43 w 62"/>
                  <a:gd name="T9" fmla="*/ 56 h 62"/>
                  <a:gd name="T10" fmla="*/ 31 w 62"/>
                  <a:gd name="T11" fmla="*/ 0 h 62"/>
                  <a:gd name="T12" fmla="*/ 0 w 62"/>
                  <a:gd name="T13" fmla="*/ 31 h 62"/>
                  <a:gd name="T14" fmla="*/ 31 w 62"/>
                  <a:gd name="T15" fmla="*/ 62 h 62"/>
                  <a:gd name="T16" fmla="*/ 62 w 62"/>
                  <a:gd name="T17" fmla="*/ 31 h 62"/>
                  <a:gd name="T18" fmla="*/ 31 w 62"/>
                  <a:gd name="T1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62">
                    <a:moveTo>
                      <a:pt x="43" y="56"/>
                    </a:moveTo>
                    <a:cubicBezTo>
                      <a:pt x="39" y="56"/>
                      <a:pt x="35" y="52"/>
                      <a:pt x="35" y="48"/>
                    </a:cubicBezTo>
                    <a:cubicBezTo>
                      <a:pt x="35" y="44"/>
                      <a:pt x="39" y="40"/>
                      <a:pt x="43" y="40"/>
                    </a:cubicBezTo>
                    <a:cubicBezTo>
                      <a:pt x="47" y="40"/>
                      <a:pt x="51" y="44"/>
                      <a:pt x="51" y="48"/>
                    </a:cubicBezTo>
                    <a:cubicBezTo>
                      <a:pt x="51" y="52"/>
                      <a:pt x="47" y="56"/>
                      <a:pt x="43" y="56"/>
                    </a:cubicBezTo>
                    <a:moveTo>
                      <a:pt x="31" y="0"/>
                    </a:moveTo>
                    <a:cubicBezTo>
                      <a:pt x="14" y="0"/>
                      <a:pt x="0" y="14"/>
                      <a:pt x="0" y="31"/>
                    </a:cubicBezTo>
                    <a:cubicBezTo>
                      <a:pt x="0" y="48"/>
                      <a:pt x="14" y="62"/>
                      <a:pt x="31" y="62"/>
                    </a:cubicBezTo>
                    <a:cubicBezTo>
                      <a:pt x="48" y="62"/>
                      <a:pt x="62" y="48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</a:path>
                </a:pathLst>
              </a:custGeom>
              <a:solidFill>
                <a:srgbClr val="CCDB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37">
                <a:extLst>
                  <a:ext uri="{FF2B5EF4-FFF2-40B4-BE49-F238E27FC236}">
                    <a16:creationId xmlns:a16="http://schemas.microsoft.com/office/drawing/2014/main" id="{7F57E71E-77C8-4F04-8C5E-5D2D13C275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1373" y="5140280"/>
                <a:ext cx="34925" cy="34925"/>
              </a:xfrm>
              <a:prstGeom prst="ellipse">
                <a:avLst/>
              </a:prstGeom>
              <a:solidFill>
                <a:srgbClr val="118B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Rectangle 138">
                <a:extLst>
                  <a:ext uri="{FF2B5EF4-FFF2-40B4-BE49-F238E27FC236}">
                    <a16:creationId xmlns:a16="http://schemas.microsoft.com/office/drawing/2014/main" id="{E2DDBFBE-0384-4667-87E9-DEB5FB63ED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9773" y="5364118"/>
                <a:ext cx="147638" cy="233362"/>
              </a:xfrm>
              <a:prstGeom prst="rect">
                <a:avLst/>
              </a:prstGeom>
              <a:solidFill>
                <a:srgbClr val="71BE44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Rectangle 139">
                <a:extLst>
                  <a:ext uri="{FF2B5EF4-FFF2-40B4-BE49-F238E27FC236}">
                    <a16:creationId xmlns:a16="http://schemas.microsoft.com/office/drawing/2014/main" id="{F1CB2E5F-FFB3-48B3-AD50-167E7075B5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9773" y="5364118"/>
                <a:ext cx="147638" cy="233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3A0C5B0A-93DE-4B4F-A297-3E3233611965}"/>
              </a:ext>
            </a:extLst>
          </p:cNvPr>
          <p:cNvGrpSpPr/>
          <p:nvPr/>
        </p:nvGrpSpPr>
        <p:grpSpPr>
          <a:xfrm>
            <a:off x="643755" y="1671083"/>
            <a:ext cx="1741661" cy="977179"/>
            <a:chOff x="625717" y="1061837"/>
            <a:chExt cx="2211267" cy="1240657"/>
          </a:xfrm>
          <a:solidFill>
            <a:schemeClr val="bg2"/>
          </a:solidFill>
        </p:grpSpPr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21AF3706-7A57-4E0A-BBAF-225E0A7359AF}"/>
                </a:ext>
              </a:extLst>
            </p:cNvPr>
            <p:cNvSpPr/>
            <p:nvPr/>
          </p:nvSpPr>
          <p:spPr>
            <a:xfrm>
              <a:off x="62571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ild Campus Intelligence</a:t>
              </a:r>
            </a:p>
          </p:txBody>
        </p:sp>
        <p:sp>
          <p:nvSpPr>
            <p:cNvPr id="205" name="Isosceles Triangle 204">
              <a:extLst>
                <a:ext uri="{FF2B5EF4-FFF2-40B4-BE49-F238E27FC236}">
                  <a16:creationId xmlns:a16="http://schemas.microsoft.com/office/drawing/2014/main" id="{DE16521B-8F65-4671-8BE2-C0C8ED87EFAF}"/>
                </a:ext>
              </a:extLst>
            </p:cNvPr>
            <p:cNvSpPr/>
            <p:nvPr/>
          </p:nvSpPr>
          <p:spPr>
            <a:xfrm flipV="1">
              <a:off x="158481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90BC4AE-F5F6-4DAA-BDF4-B77A3818E5A1}"/>
              </a:ext>
            </a:extLst>
          </p:cNvPr>
          <p:cNvGrpSpPr/>
          <p:nvPr/>
        </p:nvGrpSpPr>
        <p:grpSpPr>
          <a:xfrm>
            <a:off x="3595285" y="1671083"/>
            <a:ext cx="1741661" cy="977179"/>
            <a:chOff x="3325562" y="1061837"/>
            <a:chExt cx="2211267" cy="1240657"/>
          </a:xfrm>
          <a:solidFill>
            <a:schemeClr val="bg2"/>
          </a:solidFill>
        </p:grpSpPr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17E282CD-15A7-4E89-9CDB-DDD25C1C498F}"/>
                </a:ext>
              </a:extLst>
            </p:cNvPr>
            <p:cNvSpPr/>
            <p:nvPr/>
          </p:nvSpPr>
          <p:spPr>
            <a:xfrm>
              <a:off x="3325562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 in your Brand </a:t>
              </a:r>
            </a:p>
          </p:txBody>
        </p:sp>
        <p:sp>
          <p:nvSpPr>
            <p:cNvPr id="208" name="Isosceles Triangle 207">
              <a:extLst>
                <a:ext uri="{FF2B5EF4-FFF2-40B4-BE49-F238E27FC236}">
                  <a16:creationId xmlns:a16="http://schemas.microsoft.com/office/drawing/2014/main" id="{913202D9-E20F-4547-98D6-88A7A8A92818}"/>
                </a:ext>
              </a:extLst>
            </p:cNvPr>
            <p:cNvSpPr/>
            <p:nvPr/>
          </p:nvSpPr>
          <p:spPr>
            <a:xfrm flipV="1">
              <a:off x="4284657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6C4CF255-BB3D-4DCE-A30D-B54D9E28DE9F}"/>
              </a:ext>
            </a:extLst>
          </p:cNvPr>
          <p:cNvGrpSpPr/>
          <p:nvPr/>
        </p:nvGrpSpPr>
        <p:grpSpPr>
          <a:xfrm>
            <a:off x="6546817" y="1671083"/>
            <a:ext cx="1741661" cy="977179"/>
            <a:chOff x="6025407" y="1061837"/>
            <a:chExt cx="2211267" cy="1240657"/>
          </a:xfrm>
          <a:solidFill>
            <a:schemeClr val="accent5"/>
          </a:solidFill>
        </p:grpSpPr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B256CC8D-D9EA-4681-A4A7-342B4F0809B8}"/>
                </a:ext>
              </a:extLst>
            </p:cNvPr>
            <p:cNvSpPr/>
            <p:nvPr/>
          </p:nvSpPr>
          <p:spPr>
            <a:xfrm>
              <a:off x="6025407" y="1061837"/>
              <a:ext cx="2211267" cy="105507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ss for Skills &amp; Fitment</a:t>
              </a:r>
            </a:p>
          </p:txBody>
        </p:sp>
        <p:sp>
          <p:nvSpPr>
            <p:cNvPr id="211" name="Isosceles Triangle 210">
              <a:extLst>
                <a:ext uri="{FF2B5EF4-FFF2-40B4-BE49-F238E27FC236}">
                  <a16:creationId xmlns:a16="http://schemas.microsoft.com/office/drawing/2014/main" id="{9189B78B-1A51-47D9-B3E6-7E5CAE74CEC5}"/>
                </a:ext>
              </a:extLst>
            </p:cNvPr>
            <p:cNvSpPr/>
            <p:nvPr/>
          </p:nvSpPr>
          <p:spPr>
            <a:xfrm flipV="1">
              <a:off x="6984502" y="2109962"/>
              <a:ext cx="293077" cy="19253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2646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TextBox 180">
            <a:extLst>
              <a:ext uri="{FF2B5EF4-FFF2-40B4-BE49-F238E27FC236}">
                <a16:creationId xmlns:a16="http://schemas.microsoft.com/office/drawing/2014/main" id="{4DA70DAF-C08D-4507-B824-874F96EAAA9A}"/>
              </a:ext>
            </a:extLst>
          </p:cNvPr>
          <p:cNvSpPr txBox="1"/>
          <p:nvPr/>
        </p:nvSpPr>
        <p:spPr>
          <a:xfrm>
            <a:off x="3135908" y="2424086"/>
            <a:ext cx="3901871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en-US" sz="8800" b="1" dirty="0">
                <a:solidFill>
                  <a:prstClr val="white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Q &amp; A</a:t>
            </a:r>
            <a:endParaRPr lang="en-IN" sz="8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405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C9093BE-AAA3-1B48-87DB-7E0353906150}"/>
              </a:ext>
            </a:extLst>
          </p:cNvPr>
          <p:cNvSpPr txBox="1"/>
          <p:nvPr/>
        </p:nvSpPr>
        <p:spPr>
          <a:xfrm>
            <a:off x="3676261" y="2659224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endParaRPr lang="en-US" sz="1400" b="1" i="0" u="none" strike="noStrike" kern="1200" cap="all" spc="200" baseline="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018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32.5;54.4252;691.75"/>
  <p:tag name="MMCOA_POSITION_M" val="32.5;32.5;54.4252;691.75"/>
  <p:tag name="MMCOA_POSITION_S" val="32.5;32.5;54.4252;691.75"/>
  <p:tag name="MMCOA_POSITION_T" val="32.5;32.5;54.4252;691.75"/>
  <p:tag name="MMCOA_FONTSIZE_L" val="20"/>
  <p:tag name="MMCOA_FONTSIZE_M" val="20"/>
  <p:tag name="MMCOA_FONTSIZE_S" val="18"/>
  <p:tag name="MMCOA_FONTSIZE_T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6"/>
  <p:tag name="MMCOA_FONTSIZE_M" val="16"/>
  <p:tag name="MMCOA_FONTSIZE_S" val="16"/>
  <p:tag name="MMCOA_POSITION_L" val="71.125;373.625;88.625;246.5"/>
  <p:tag name="MMCOA_POSITION_M" val="71.125;373.625;88.625;246.5"/>
  <p:tag name="MMCOA_POSITION_S" val="71.125;373.625;88.625;246.5"/>
  <p:tag name="MMCOA_HIDEONCOLOUR" val="N"/>
  <p:tag name="MMCOA_HIDEONWHITE" val="N"/>
  <p:tag name="MMCOA_EXTENDEDFILLCOLOUR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32.5;54.4252;691.75"/>
  <p:tag name="MMCOA_POSITION_M" val="32.5;32.5;54.4252;691.75"/>
  <p:tag name="MMCOA_POSITION_S" val="32.5;32.5;54.4252;691.75"/>
  <p:tag name="MMCOA_POSITION_T" val="32.5;32.5;54.4252;691.75"/>
  <p:tag name="MMCOA_FONTSIZE_L" val="20"/>
  <p:tag name="MMCOA_FONTSIZE_M" val="20"/>
  <p:tag name="MMCOA_FONTSIZE_S" val="18"/>
  <p:tag name="MMCOA_FONTSIZE_T" val="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103;375.25;691.75"/>
  <p:tag name="MMCOA_POSITION_M" val="32.5;103;375.25;691.75"/>
  <p:tag name="MMCOA_POSITION_S" val="32.5;103;375.25;691.75"/>
  <p:tag name="MMCOA_POSITION_T" val="32.5;103;375.25;691.75"/>
  <p:tag name="MMCOA_FONTSIZE_L" val="18"/>
  <p:tag name="MMCOA_FONTSIZE_M" val="18"/>
  <p:tag name="MMCOA_FONTSIZE_S" val="14"/>
  <p:tag name="MMCOA_FONTSIZE_T" val="1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FONTSIZE_L" val="10"/>
  <p:tag name="MMCOA_FONTSIZE_M" val="10"/>
  <p:tag name="MMCOA_FONTSIZE_S" val="10"/>
  <p:tag name="MMCOA_FONTSIZE_T" val="10"/>
  <p:tag name="MMCOA_POSITION_L" val="689.25;507;12.11717;35"/>
  <p:tag name="MMCOA_POSITION_M" val="689.25;507;12.11717;35"/>
  <p:tag name="MMCOA_POSITION_S" val="689.25;507;12.11717;35"/>
  <p:tag name="MMCOA_POSITION_T" val="689.25;507;12.11717;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CLASSIC" val="Y"/>
  <p:tag name="MMCOA_HIDEONTEXT" val="Y"/>
  <p:tag name="MMCOA_HIDEONECO" val="Y"/>
  <p:tag name="MMCOA_HIDEONBALLROOM" val="Y"/>
  <p:tag name="MMCOA_FONTSIZE_L" val="10"/>
  <p:tag name="MMCOA_FONTSIZE_M" val="10"/>
  <p:tag name="MMCOA_FONTSIZE_S" val="10"/>
  <p:tag name="MMCOA_FONTSIZE_T" val="10"/>
  <p:tag name="MMCOA_POSITION_L" val="32.5;507;12.11717;236.5376"/>
  <p:tag name="MMCOA_POSITION_M" val="32.5;507;12.11717;236.5376"/>
  <p:tag name="MMCOA_POSITION_S" val="32.5;507;12.11717;236.5376"/>
  <p:tag name="MMCOA_POSITION_T" val="32.5;507;12.11717;236.537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49.7305;513.6597;8.482047;56.16827"/>
  <p:tag name="MMCOA_POSITION_M" val="349.7305;513.6597;8.482047;56.16827"/>
  <p:tag name="MMCOA_POSITION_S" val="349.7305;513.6597;8.482047;56.16827"/>
  <p:tag name="MMCOA_POSITION_T" val="349.7305;513.6597;8.482047;56.16827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8"/>
  <p:tag name="MMCOA_FONTSIZE_M" val="8"/>
  <p:tag name="MMCOA_FONTSIZE_S" val="8"/>
  <p:tag name="MMCOA_FONTSIZE_T" val="8"/>
  <p:tag name="MMCOA_POSITION_L" val="195.5905;508.96;9.69378;474.2362"/>
  <p:tag name="MMCOA_POSITION_M" val="195.5905;508.96;9.69378;474.2362"/>
  <p:tag name="MMCOA_POSITION_S" val="195.5905;508.96;9.69378;474.2362"/>
  <p:tag name="MMCOA_POSITION_T" val="195.5905;508.96;9.69378;474.236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10"/>
  <p:tag name="MMCOA_FONTSIZE_M" val="10"/>
  <p:tag name="MMCOA_FONTSIZE_S" val="10"/>
  <p:tag name="MMCOA_FONTSIZE_T" val="10"/>
  <p:tag name="MMCOA_POSITION_L" val="32.5;507;12.11717;228"/>
  <p:tag name="MMCOA_POSITION_M" val="32.5;507;12.11717;228"/>
  <p:tag name="MMCOA_POSITION_S" val="32.5;507;12.11717;228"/>
  <p:tag name="MMCOA_POSITION_T" val="32.5;507;12.11717;22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POSITION_L" val="32.5;483;0;691.75"/>
  <p:tag name="MMCOA_POSITION_M" val="32.5;483;0;691.75"/>
  <p:tag name="MMCOA_POSITION_S" val="32.5;483;0;691.75"/>
  <p:tag name="MMCOA_POSITION_T" val="32.5;483;0;691.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ImageControl xmlns:xsi=&quot;http://www.w3.org/2001/XMLSchema-instance&quot; xmlns:xsd=&quot;http://www.w3.org/2001/XMLSchema&quot;&gt;&#10;  &lt;TypeOfImage&gt;SolidColour&lt;/TypeOfImage&gt;&#10;  &lt;Usage&gt;PowerPointTitle&lt;/Usage&gt;&#10;  &lt;PaletteName&gt;Sapphire&lt;/PaletteName&gt;&#10;  &lt;Design engine=&quot;MER2015&quot;&gt;&#10;    &lt;Triangles&gt;&#10;      &lt;Triangle&gt;&#10;        &lt;RowGrid&gt;6&lt;/RowGrid&gt;&#10;        &lt;ColumnGrid&gt;2&lt;/ColumnGrid&gt;&#10;        &lt;Flip&gt;1&lt;/Flip&gt;&#10;        &lt;ColorNumber&gt;4&lt;/ColorNumber&gt;&#10;        &lt;Opacity&gt;1&lt;/Opacity&gt;&#10;      &lt;/Triangle&gt;&#10;      &lt;Triangle&gt;&#10;        &lt;RowGrid&gt;5&lt;/RowGrid&gt;&#10;        &lt;ColumnGrid&gt;1&lt;/ColumnGrid&gt;&#10;        &lt;Flip&gt;1&lt;/Flip&gt;&#10;        &lt;ColorNumber&gt;3&lt;/ColorNumber&gt;&#10;        &lt;Opacity&gt;1&lt;/Opacity&gt;&#10;      &lt;/Triangle&gt;&#10;      &lt;Triangle&gt;&#10;        &lt;RowGrid&gt;5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3&lt;/RowGrid&gt;&#10;        &lt;ColumnGrid&gt;3&lt;/ColumnGrid&gt;&#10;        &lt;Flip&gt;1&lt;/Flip&gt;&#10;        &lt;ColorNumber&gt;4&lt;/ColorNumber&gt;&#10;        &lt;Opacity&gt;1&lt;/Opacity&gt;&#10;      &lt;/Triangle&gt;&#10;      &lt;Triangle&gt;&#10;        &lt;RowGrid&gt;3&lt;/RowGrid&gt;&#10;        &lt;ColumnGrid&gt;5&lt;/ColumnGrid&gt;&#10;        &lt;Flip&gt;1&lt;/Flip&gt;&#10;        &lt;ColorNumber&gt;2&lt;/ColorNumber&gt;&#10;        &lt;Opacity&gt;1&lt;/Opacity&gt;&#10;      &lt;/Triangle&gt;&#10;      &lt;Triangle&gt;&#10;        &lt;RowGrid&gt;2&lt;/RowGrid&gt;&#10;        &lt;ColumnGrid&gt;2&lt;/ColumnGrid&gt;&#10;        &lt;Flip&gt;1&lt;/Flip&gt;&#10;        &lt;ColorNumber&gt;2&lt;/ColorNumber&gt;&#10;        &lt;Opacity&gt;1&lt;/Opacity&gt;&#10;      &lt;/Triangle&gt;&#10;      &lt;Triangle&gt;&#10;        &lt;RowGrid&gt;1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1&lt;/RowGrid&gt;&#10;        &lt;ColumnGrid&gt;5&lt;/ColumnGrid&gt;&#10;        &lt;Flip&gt;0&lt;/Flip&gt;&#10;        &lt;ColorNumber&gt;4&lt;/ColorNumber&gt;&#10;        &lt;Opacity&gt;1&lt;/Opacity&gt;&#10;      &lt;/Triangle&gt;&#10;      &lt;Triangle&gt;&#10;        &lt;RowGrid&gt;1&lt;/RowGrid&gt;&#10;        &lt;ColumnGrid&gt;7&lt;/ColumnGrid&gt;&#10;        &lt;Flip&gt;1&lt;/Flip&gt;&#10;        &lt;ColorNumber&gt;4&lt;/ColorNumber&gt;&#10;        &lt;Opacity&gt;1&lt;/Opacity&gt;&#10;      &lt;/Triangle&gt;&#10;    &lt;/Triangles&gt;&#10;    &lt;BlankCoordinates&gt;&#10;      &lt;BlankCoordinate&gt;&#10;        &lt;X&gt;3&lt;/X&gt;&#10;        &lt;Y&gt;7&lt;/Y&gt;&#10;      &lt;/BlankCoordinate&gt;&#10;      &lt;BlankCoordinate&gt;&#10;        &lt;X&gt;2&lt;/X&gt;&#10;        &lt;Y&gt;6&lt;/Y&gt;&#10;      &lt;/BlankCoordinate&gt;&#10;      &lt;BlankCoordinate&gt;&#10;        &lt;X&gt;2&lt;/X&gt;&#10;        &lt;Y&gt;6&lt;/Y&gt;&#10;      &lt;/BlankCoordinate&gt;&#10;      &lt;BlankCoordinate&gt;&#10;        &lt;X&gt;1&lt;/X&gt;&#10;        &lt;Y&gt;5&lt;/Y&gt;&#10;      &lt;/BlankCoordinate&gt;&#10;      &lt;BlankCoordinate&gt;&#10;        &lt;X&gt;3&lt;/X&gt;&#10;        &lt;Y&gt;5&lt;/Y&gt;&#10;      &lt;/BlankCoordinate&gt;&#10;      &lt;BlankCoordinate&gt;&#10;        &lt;X&gt;4&lt;/X&gt;&#10;        &lt;Y&gt;4&lt;/Y&gt;&#10;      &lt;/BlankCoordinate&gt;&#10;      &lt;BlankCoordinate&gt;&#10;        &lt;X&gt;6&lt;/X&gt;&#10;        &lt;Y&gt;4&lt;/Y&gt;&#10;      &lt;/BlankCoordinate&gt;&#10;      &lt;BlankCoordinate&gt;&#10;        &lt;X&gt;5&lt;/X&gt;&#10;        &lt;Y&gt;3&lt;/Y&gt;&#10;      &lt;/BlankCoordinate&gt;&#10;      &lt;BlankCoordinate&gt;&#10;        &lt;X&gt;3&lt;/X&gt;&#10;        &lt;Y&gt;3&lt;/Y&gt;&#10;      &lt;/BlankCoordinate&gt;&#10;      &lt;BlankCoordinate&gt;&#10;        &lt;X&gt;2&lt;/X&gt;&#10;        &lt;Y&gt;2&lt;/Y&gt;&#10;      &lt;/BlankCoordinate&gt;&#10;      &lt;BlankCoordinate&gt;&#10;        &lt;X&gt;8&lt;/X&gt;&#10;        &lt;Y&gt;2&lt;/Y&gt;&#10;      &lt;/BlankCoordinate&gt;&#10;      &lt;BlankCoordinate&gt;&#10;        &lt;X&gt;7&lt;/X&gt;&#10;        &lt;Y&gt;1&lt;/Y&gt;&#10;      &lt;/BlankCoordinate&gt;&#10;      &lt;BlankCoordinate&gt;&#10;        &lt;X&gt;5&lt;/X&gt;&#10;        &lt;Y&gt;1&lt;/Y&gt;&#10;      &lt;/BlankCoordinate&gt;&#10;      &lt;BlankCoordinate&gt;&#10;        &lt;X&gt;6&lt;/X&gt;&#10;        &lt;Y&gt;0&lt;/Y&gt;&#10;      &lt;/BlankCoordinate&gt;&#10;      &lt;BlankCoordinate&gt;&#10;        &lt;X&gt;-1&lt;/X&gt;&#10;        &lt;Y&gt;0&lt;/Y&gt;&#10;      &lt;/BlankCoordinate&gt;&#10;      &lt;BlankCoordinate&gt;&#10;        &lt;X&gt;-1&lt;/X&gt;&#10;        &lt;Y&gt;7&lt;/Y&gt;&#10;      &lt;/BlankCoordinate&gt;&#10;    &lt;/BlankCoordinates&gt;&#10;    &lt;ImageRightCropPercent&gt;0&lt;/ImageRightCropPercent&gt;&#10;    &lt;TotalRows&gt;7&lt;/TotalRows&gt;&#10;    &lt;TrianglesGridShiftPercent&gt;0&lt;/TrianglesGridShiftPercent&gt;&#10;    &lt;ImageBlankTopRows&gt;0&lt;/ImageBlankTopRows&gt;&#10;  &lt;/Design&gt;&#10;&lt;/ImageControl&gt;"/>
  <p:tag name="MMC_PRESENTATIONTYP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103;375.25;691.75"/>
  <p:tag name="MMCOA_POSITION_M" val="32.5;103;375.25;691.75"/>
  <p:tag name="MMCOA_POSITION_S" val="32.5;103;375.25;691.75"/>
  <p:tag name="MMCOA_POSITION_T" val="32.5;103;375.25;691.75"/>
  <p:tag name="MMCOA_FONTSIZE_L" val="18"/>
  <p:tag name="MMCOA_FONTSIZE_M" val="18"/>
  <p:tag name="MMCOA_FONTSIZE_S" val="14"/>
  <p:tag name="MMCOA_FONTSIZE_T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DDN8DFQ9ipj0UvR7Vy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32.5;54.4252;691.75"/>
  <p:tag name="MMCOA_POSITION_M" val="32.5;32.5;54.4252;691.75"/>
  <p:tag name="MMCOA_POSITION_S" val="32.5;32.5;54.4252;691.75"/>
  <p:tag name="MMCOA_POSITION_T" val="32.5;32.5;54.4252;691.75"/>
  <p:tag name="MMCOA_FONTSIZE_L" val="20"/>
  <p:tag name="MMCOA_FONTSIZE_M" val="20"/>
  <p:tag name="MMCOA_FONTSIZE_S" val="18"/>
  <p:tag name="MMCOA_FONTSIZE_T" val="1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POSITION_L" val="32.5;103;375.25;691.75"/>
  <p:tag name="MMCOA_POSITION_M" val="32.5;103;375.25;691.75"/>
  <p:tag name="MMCOA_POSITION_S" val="32.5;103;375.25;691.75"/>
  <p:tag name="MMCOA_POSITION_T" val="32.5;103;375.25;691.75"/>
  <p:tag name="MMCOA_FONTSIZE_L" val="18"/>
  <p:tag name="MMCOA_FONTSIZE_M" val="18"/>
  <p:tag name="MMCOA_FONTSIZE_S" val="14"/>
  <p:tag name="MMCOA_FONTSIZE_T" val="1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FONTSIZE_L" val="10"/>
  <p:tag name="MMCOA_FONTSIZE_M" val="10"/>
  <p:tag name="MMCOA_FONTSIZE_S" val="10"/>
  <p:tag name="MMCOA_FONTSIZE_T" val="10"/>
  <p:tag name="MMCOA_POSITION_L" val="689.25;507;12.11717;35"/>
  <p:tag name="MMCOA_POSITION_M" val="689.25;507;12.11717;35"/>
  <p:tag name="MMCOA_POSITION_S" val="689.25;507;12.11717;35"/>
  <p:tag name="MMCOA_POSITION_T" val="689.25;507;12.11717;3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CLASSIC" val="Y"/>
  <p:tag name="MMCOA_HIDEONTEXT" val="Y"/>
  <p:tag name="MMCOA_HIDEONECO" val="Y"/>
  <p:tag name="MMCOA_HIDEONBALLROOM" val="Y"/>
  <p:tag name="MMCOA_FONTSIZE_L" val="10"/>
  <p:tag name="MMCOA_FONTSIZE_M" val="10"/>
  <p:tag name="MMCOA_FONTSIZE_S" val="10"/>
  <p:tag name="MMCOA_FONTSIZE_T" val="10"/>
  <p:tag name="MMCOA_POSITION_L" val="32.5;507;12.11717;236.5376"/>
  <p:tag name="MMCOA_POSITION_M" val="32.5;507;12.11717;236.5376"/>
  <p:tag name="MMCOA_POSITION_S" val="32.5;507;12.11717;236.5376"/>
  <p:tag name="MMCOA_POSITION_T" val="32.5;507;12.11717;236.537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49.7305;513.6597;8.482047;56.16827"/>
  <p:tag name="MMCOA_POSITION_M" val="349.7305;513.6597;8.482047;56.16827"/>
  <p:tag name="MMCOA_POSITION_S" val="349.7305;513.6597;8.482047;56.16827"/>
  <p:tag name="MMCOA_POSITION_T" val="349.7305;513.6597;8.482047;56.16827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8"/>
  <p:tag name="MMCOA_FONTSIZE_M" val="8"/>
  <p:tag name="MMCOA_FONTSIZE_S" val="8"/>
  <p:tag name="MMCOA_FONTSIZE_T" val="8"/>
  <p:tag name="MMCOA_POSITION_L" val="195.5905;508.96;9.69378;474.2362"/>
  <p:tag name="MMCOA_POSITION_M" val="195.5905;508.96;9.69378;474.2362"/>
  <p:tag name="MMCOA_POSITION_S" val="195.5905;508.96;9.69378;474.2362"/>
  <p:tag name="MMCOA_POSITION_T" val="195.5905;508.96;9.69378;474.236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10"/>
  <p:tag name="MMCOA_FONTSIZE_M" val="10"/>
  <p:tag name="MMCOA_FONTSIZE_S" val="10"/>
  <p:tag name="MMCOA_FONTSIZE_T" val="10"/>
  <p:tag name="MMCOA_POSITION_L" val="32.5;507;12.11717;228"/>
  <p:tag name="MMCOA_POSITION_M" val="32.5;507;12.11717;228"/>
  <p:tag name="MMCOA_POSITION_S" val="32.5;507;12.11717;228"/>
  <p:tag name="MMCOA_POSITION_T" val="32.5;507;12.11717;22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POSITION_L" val="32.5;483;0;691.75"/>
  <p:tag name="MMCOA_POSITION_M" val="32.5;483;0;691.75"/>
  <p:tag name="MMCOA_POSITION_S" val="32.5;483;0;691.75"/>
  <p:tag name="MMCOA_POSITION_T" val="32.5;483;0;691.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FONTSIZE_L" val="10"/>
  <p:tag name="MMCOA_FONTSIZE_M" val="10"/>
  <p:tag name="MMCOA_FONTSIZE_S" val="10"/>
  <p:tag name="MMCOA_FONTSIZE_T" val="10"/>
  <p:tag name="MMCOA_POSITION_L" val="689.25;507;12.11717;35"/>
  <p:tag name="MMCOA_POSITION_M" val="689.25;507;12.11717;35"/>
  <p:tag name="MMCOA_POSITION_S" val="689.25;507;12.11717;35"/>
  <p:tag name="MMCOA_POSITION_T" val="689.25;507;12.11717;3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ImageControl xmlns:xsi=&quot;http://www.w3.org/2001/XMLSchema-instance&quot; xmlns:xsd=&quot;http://www.w3.org/2001/XMLSchema&quot;&gt;&#10;  &lt;TypeOfImage&gt;SolidColour&lt;/TypeOfImage&gt;&#10;  &lt;Usage&gt;PowerPointTitle&lt;/Usage&gt;&#10;  &lt;PaletteName&gt;Sapphire&lt;/PaletteName&gt;&#10;  &lt;Design engine=&quot;MER2015&quot;&gt;&#10;    &lt;Triangles&gt;&#10;      &lt;Triangle&gt;&#10;        &lt;RowGrid&gt;6&lt;/RowGrid&gt;&#10;        &lt;ColumnGrid&gt;2&lt;/ColumnGrid&gt;&#10;        &lt;Flip&gt;1&lt;/Flip&gt;&#10;        &lt;ColorNumber&gt;4&lt;/ColorNumber&gt;&#10;        &lt;Opacity&gt;1&lt;/Opacity&gt;&#10;      &lt;/Triangle&gt;&#10;      &lt;Triangle&gt;&#10;        &lt;RowGrid&gt;5&lt;/RowGrid&gt;&#10;        &lt;ColumnGrid&gt;1&lt;/ColumnGrid&gt;&#10;        &lt;Flip&gt;1&lt;/Flip&gt;&#10;        &lt;ColorNumber&gt;3&lt;/ColorNumber&gt;&#10;        &lt;Opacity&gt;1&lt;/Opacity&gt;&#10;      &lt;/Triangle&gt;&#10;      &lt;Triangle&gt;&#10;        &lt;RowGrid&gt;5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3&lt;/RowGrid&gt;&#10;        &lt;ColumnGrid&gt;3&lt;/ColumnGrid&gt;&#10;        &lt;Flip&gt;1&lt;/Flip&gt;&#10;        &lt;ColorNumber&gt;4&lt;/ColorNumber&gt;&#10;        &lt;Opacity&gt;1&lt;/Opacity&gt;&#10;      &lt;/Triangle&gt;&#10;      &lt;Triangle&gt;&#10;        &lt;RowGrid&gt;3&lt;/RowGrid&gt;&#10;        &lt;ColumnGrid&gt;5&lt;/ColumnGrid&gt;&#10;        &lt;Flip&gt;1&lt;/Flip&gt;&#10;        &lt;ColorNumber&gt;2&lt;/ColorNumber&gt;&#10;        &lt;Opacity&gt;1&lt;/Opacity&gt;&#10;      &lt;/Triangle&gt;&#10;      &lt;Triangle&gt;&#10;        &lt;RowGrid&gt;2&lt;/RowGrid&gt;&#10;        &lt;ColumnGrid&gt;2&lt;/ColumnGrid&gt;&#10;        &lt;Flip&gt;1&lt;/Flip&gt;&#10;        &lt;ColorNumber&gt;2&lt;/ColorNumber&gt;&#10;        &lt;Opacity&gt;1&lt;/Opacity&gt;&#10;      &lt;/Triangle&gt;&#10;      &lt;Triangle&gt;&#10;        &lt;RowGrid&gt;1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1&lt;/RowGrid&gt;&#10;        &lt;ColumnGrid&gt;5&lt;/ColumnGrid&gt;&#10;        &lt;Flip&gt;0&lt;/Flip&gt;&#10;        &lt;ColorNumber&gt;4&lt;/ColorNumber&gt;&#10;        &lt;Opacity&gt;1&lt;/Opacity&gt;&#10;      &lt;/Triangle&gt;&#10;      &lt;Triangle&gt;&#10;        &lt;RowGrid&gt;1&lt;/RowGrid&gt;&#10;        &lt;ColumnGrid&gt;7&lt;/ColumnGrid&gt;&#10;        &lt;Flip&gt;1&lt;/Flip&gt;&#10;        &lt;ColorNumber&gt;4&lt;/ColorNumber&gt;&#10;        &lt;Opacity&gt;1&lt;/Opacity&gt;&#10;      &lt;/Triangle&gt;&#10;    &lt;/Triangles&gt;&#10;    &lt;BlankCoordinates&gt;&#10;      &lt;BlankCoordinate&gt;&#10;        &lt;X&gt;3&lt;/X&gt;&#10;        &lt;Y&gt;7&lt;/Y&gt;&#10;      &lt;/BlankCoordinate&gt;&#10;      &lt;BlankCoordinate&gt;&#10;        &lt;X&gt;2&lt;/X&gt;&#10;        &lt;Y&gt;6&lt;/Y&gt;&#10;      &lt;/BlankCoordinate&gt;&#10;      &lt;BlankCoordinate&gt;&#10;        &lt;X&gt;2&lt;/X&gt;&#10;        &lt;Y&gt;6&lt;/Y&gt;&#10;      &lt;/BlankCoordinate&gt;&#10;      &lt;BlankCoordinate&gt;&#10;        &lt;X&gt;1&lt;/X&gt;&#10;        &lt;Y&gt;5&lt;/Y&gt;&#10;      &lt;/BlankCoordinate&gt;&#10;      &lt;BlankCoordinate&gt;&#10;        &lt;X&gt;3&lt;/X&gt;&#10;        &lt;Y&gt;5&lt;/Y&gt;&#10;      &lt;/BlankCoordinate&gt;&#10;      &lt;BlankCoordinate&gt;&#10;        &lt;X&gt;4&lt;/X&gt;&#10;        &lt;Y&gt;4&lt;/Y&gt;&#10;      &lt;/BlankCoordinate&gt;&#10;      &lt;BlankCoordinate&gt;&#10;        &lt;X&gt;6&lt;/X&gt;&#10;        &lt;Y&gt;4&lt;/Y&gt;&#10;      &lt;/BlankCoordinate&gt;&#10;      &lt;BlankCoordinate&gt;&#10;        &lt;X&gt;5&lt;/X&gt;&#10;        &lt;Y&gt;3&lt;/Y&gt;&#10;      &lt;/BlankCoordinate&gt;&#10;      &lt;BlankCoordinate&gt;&#10;        &lt;X&gt;3&lt;/X&gt;&#10;        &lt;Y&gt;3&lt;/Y&gt;&#10;      &lt;/BlankCoordinate&gt;&#10;      &lt;BlankCoordinate&gt;&#10;        &lt;X&gt;2&lt;/X&gt;&#10;        &lt;Y&gt;2&lt;/Y&gt;&#10;      &lt;/BlankCoordinate&gt;&#10;      &lt;BlankCoordinate&gt;&#10;        &lt;X&gt;8&lt;/X&gt;&#10;        &lt;Y&gt;2&lt;/Y&gt;&#10;      &lt;/BlankCoordinate&gt;&#10;      &lt;BlankCoordinate&gt;&#10;        &lt;X&gt;7&lt;/X&gt;&#10;        &lt;Y&gt;1&lt;/Y&gt;&#10;      &lt;/BlankCoordinate&gt;&#10;      &lt;BlankCoordinate&gt;&#10;        &lt;X&gt;5&lt;/X&gt;&#10;        &lt;Y&gt;1&lt;/Y&gt;&#10;      &lt;/BlankCoordinate&gt;&#10;      &lt;BlankCoordinate&gt;&#10;        &lt;X&gt;6&lt;/X&gt;&#10;        &lt;Y&gt;0&lt;/Y&gt;&#10;      &lt;/BlankCoordinate&gt;&#10;      &lt;BlankCoordinate&gt;&#10;        &lt;X&gt;-1&lt;/X&gt;&#10;        &lt;Y&gt;0&lt;/Y&gt;&#10;      &lt;/BlankCoordinate&gt;&#10;      &lt;BlankCoordinate&gt;&#10;        &lt;X&gt;-1&lt;/X&gt;&#10;        &lt;Y&gt;7&lt;/Y&gt;&#10;      &lt;/BlankCoordinate&gt;&#10;    &lt;/BlankCoordinates&gt;&#10;    &lt;ImageRightCropPercent&gt;0&lt;/ImageRightCropPercent&gt;&#10;    &lt;TotalRows&gt;7&lt;/TotalRows&gt;&#10;    &lt;TrianglesGridShiftPercent&gt;0&lt;/TrianglesGridShiftPercent&gt;&#10;    &lt;ImageBlankTopRows&gt;0&lt;/ImageBlankTopRows&gt;&#10;  &lt;/Design&gt;&#10;&lt;/ImageControl&gt;"/>
  <p:tag name="MMC_PRESENTATIONTYP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DDN8DFQ9ipj0UvR7Vy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5.FhZ3STIUwBPdgDKr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CLASSIC" val="Y"/>
  <p:tag name="MMCOA_HIDEONTEXT" val="Y"/>
  <p:tag name="MMCOA_HIDEONECO" val="Y"/>
  <p:tag name="MMCOA_HIDEONBALLROOM" val="Y"/>
  <p:tag name="MMCOA_FONTSIZE_L" val="10"/>
  <p:tag name="MMCOA_FONTSIZE_M" val="10"/>
  <p:tag name="MMCOA_FONTSIZE_S" val="10"/>
  <p:tag name="MMCOA_FONTSIZE_T" val="10"/>
  <p:tag name="MMCOA_POSITION_L" val="32.5;507;12.11717;236.5376"/>
  <p:tag name="MMCOA_POSITION_M" val="32.5;507;12.11717;236.5376"/>
  <p:tag name="MMCOA_POSITION_S" val="32.5;507;12.11717;236.5376"/>
  <p:tag name="MMCOA_POSITION_T" val="32.5;507;12.11717;236.53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49.7305;513.6597;8.482047;56.16827"/>
  <p:tag name="MMCOA_POSITION_M" val="349.7305;513.6597;8.482047;56.16827"/>
  <p:tag name="MMCOA_POSITION_S" val="349.7305;513.6597;8.482047;56.16827"/>
  <p:tag name="MMCOA_POSITION_T" val="349.7305;513.6597;8.482047;56.16827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8"/>
  <p:tag name="MMCOA_FONTSIZE_M" val="8"/>
  <p:tag name="MMCOA_FONTSIZE_S" val="8"/>
  <p:tag name="MMCOA_FONTSIZE_T" val="8"/>
  <p:tag name="MMCOA_POSITION_L" val="195.5905;508.96;9.69378;474.2362"/>
  <p:tag name="MMCOA_POSITION_M" val="195.5905;508.96;9.69378;474.2362"/>
  <p:tag name="MMCOA_POSITION_S" val="195.5905;508.96;9.69378;474.2362"/>
  <p:tag name="MMCOA_POSITION_T" val="195.5905;508.96;9.69378;474.236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FONTSIZE_L" val="10"/>
  <p:tag name="MMCOA_FONTSIZE_M" val="10"/>
  <p:tag name="MMCOA_FONTSIZE_S" val="10"/>
  <p:tag name="MMCOA_FONTSIZE_T" val="10"/>
  <p:tag name="MMCOA_POSITION_L" val="32.5;507;12.11717;228"/>
  <p:tag name="MMCOA_POSITION_M" val="32.5;507;12.11717;228"/>
  <p:tag name="MMCOA_POSITION_S" val="32.5;507;12.11717;228"/>
  <p:tag name="MMCOA_POSITION_T" val="32.5;507;12.11717;22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POSITION_L" val="32.5;483;0;691.75"/>
  <p:tag name="MMCOA_POSITION_M" val="32.5;483;0;691.75"/>
  <p:tag name="MMCOA_POSITION_S" val="32.5;483;0;691.75"/>
  <p:tag name="MMCOA_POSITION_T" val="32.5;483;0;691.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ImageControl xmlns:xsi=&quot;http://www.w3.org/2001/XMLSchema-instance&quot; xmlns:xsd=&quot;http://www.w3.org/2001/XMLSchema&quot;&gt;&#10;  &lt;TypeOfImage&gt;SolidColour&lt;/TypeOfImage&gt;&#10;  &lt;Usage&gt;PowerPointTitle&lt;/Usage&gt;&#10;  &lt;PaletteName&gt;Sapphire&lt;/PaletteName&gt;&#10;  &lt;Design engine=&quot;MER2015&quot;&gt;&#10;    &lt;Triangles&gt;&#10;      &lt;Triangle&gt;&#10;        &lt;RowGrid&gt;6&lt;/RowGrid&gt;&#10;        &lt;ColumnGrid&gt;2&lt;/ColumnGrid&gt;&#10;        &lt;Flip&gt;1&lt;/Flip&gt;&#10;        &lt;ColorNumber&gt;4&lt;/ColorNumber&gt;&#10;        &lt;Opacity&gt;1&lt;/Opacity&gt;&#10;      &lt;/Triangle&gt;&#10;      &lt;Triangle&gt;&#10;        &lt;RowGrid&gt;5&lt;/RowGrid&gt;&#10;        &lt;ColumnGrid&gt;1&lt;/ColumnGrid&gt;&#10;        &lt;Flip&gt;1&lt;/Flip&gt;&#10;        &lt;ColorNumber&gt;3&lt;/ColorNumber&gt;&#10;        &lt;Opacity&gt;1&lt;/Opacity&gt;&#10;      &lt;/Triangle&gt;&#10;      &lt;Triangle&gt;&#10;        &lt;RowGrid&gt;5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3&lt;/RowGrid&gt;&#10;        &lt;ColumnGrid&gt;3&lt;/ColumnGrid&gt;&#10;        &lt;Flip&gt;1&lt;/Flip&gt;&#10;        &lt;ColorNumber&gt;4&lt;/ColorNumber&gt;&#10;        &lt;Opacity&gt;1&lt;/Opacity&gt;&#10;      &lt;/Triangle&gt;&#10;      &lt;Triangle&gt;&#10;        &lt;RowGrid&gt;3&lt;/RowGrid&gt;&#10;        &lt;ColumnGrid&gt;5&lt;/ColumnGrid&gt;&#10;        &lt;Flip&gt;1&lt;/Flip&gt;&#10;        &lt;ColorNumber&gt;2&lt;/ColorNumber&gt;&#10;        &lt;Opacity&gt;1&lt;/Opacity&gt;&#10;      &lt;/Triangle&gt;&#10;      &lt;Triangle&gt;&#10;        &lt;RowGrid&gt;2&lt;/RowGrid&gt;&#10;        &lt;ColumnGrid&gt;2&lt;/ColumnGrid&gt;&#10;        &lt;Flip&gt;1&lt;/Flip&gt;&#10;        &lt;ColorNumber&gt;2&lt;/ColorNumber&gt;&#10;        &lt;Opacity&gt;1&lt;/Opacity&gt;&#10;      &lt;/Triangle&gt;&#10;      &lt;Triangle&gt;&#10;        &lt;RowGrid&gt;1&lt;/RowGrid&gt;&#10;        &lt;ColumnGrid&gt;3&lt;/ColumnGrid&gt;&#10;        &lt;Flip&gt;0&lt;/Flip&gt;&#10;        &lt;ColorNumber&gt;3&lt;/ColorNumber&gt;&#10;        &lt;Opacity&gt;1&lt;/Opacity&gt;&#10;      &lt;/Triangle&gt;&#10;      &lt;Triangle&gt;&#10;        &lt;RowGrid&gt;1&lt;/RowGrid&gt;&#10;        &lt;ColumnGrid&gt;5&lt;/ColumnGrid&gt;&#10;        &lt;Flip&gt;0&lt;/Flip&gt;&#10;        &lt;ColorNumber&gt;4&lt;/ColorNumber&gt;&#10;        &lt;Opacity&gt;1&lt;/Opacity&gt;&#10;      &lt;/Triangle&gt;&#10;      &lt;Triangle&gt;&#10;        &lt;RowGrid&gt;1&lt;/RowGrid&gt;&#10;        &lt;ColumnGrid&gt;7&lt;/ColumnGrid&gt;&#10;        &lt;Flip&gt;1&lt;/Flip&gt;&#10;        &lt;ColorNumber&gt;4&lt;/ColorNumber&gt;&#10;        &lt;Opacity&gt;1&lt;/Opacity&gt;&#10;      &lt;/Triangle&gt;&#10;    &lt;/Triangles&gt;&#10;    &lt;BlankCoordinates&gt;&#10;      &lt;BlankCoordinate&gt;&#10;        &lt;X&gt;3&lt;/X&gt;&#10;        &lt;Y&gt;7&lt;/Y&gt;&#10;      &lt;/BlankCoordinate&gt;&#10;      &lt;BlankCoordinate&gt;&#10;        &lt;X&gt;2&lt;/X&gt;&#10;        &lt;Y&gt;6&lt;/Y&gt;&#10;      &lt;/BlankCoordinate&gt;&#10;      &lt;BlankCoordinate&gt;&#10;        &lt;X&gt;2&lt;/X&gt;&#10;        &lt;Y&gt;6&lt;/Y&gt;&#10;      &lt;/BlankCoordinate&gt;&#10;      &lt;BlankCoordinate&gt;&#10;        &lt;X&gt;1&lt;/X&gt;&#10;        &lt;Y&gt;5&lt;/Y&gt;&#10;      &lt;/BlankCoordinate&gt;&#10;      &lt;BlankCoordinate&gt;&#10;        &lt;X&gt;3&lt;/X&gt;&#10;        &lt;Y&gt;5&lt;/Y&gt;&#10;      &lt;/BlankCoordinate&gt;&#10;      &lt;BlankCoordinate&gt;&#10;        &lt;X&gt;4&lt;/X&gt;&#10;        &lt;Y&gt;4&lt;/Y&gt;&#10;      &lt;/BlankCoordinate&gt;&#10;      &lt;BlankCoordinate&gt;&#10;        &lt;X&gt;6&lt;/X&gt;&#10;        &lt;Y&gt;4&lt;/Y&gt;&#10;      &lt;/BlankCoordinate&gt;&#10;      &lt;BlankCoordinate&gt;&#10;        &lt;X&gt;5&lt;/X&gt;&#10;        &lt;Y&gt;3&lt;/Y&gt;&#10;      &lt;/BlankCoordinate&gt;&#10;      &lt;BlankCoordinate&gt;&#10;        &lt;X&gt;3&lt;/X&gt;&#10;        &lt;Y&gt;3&lt;/Y&gt;&#10;      &lt;/BlankCoordinate&gt;&#10;      &lt;BlankCoordinate&gt;&#10;        &lt;X&gt;2&lt;/X&gt;&#10;        &lt;Y&gt;2&lt;/Y&gt;&#10;      &lt;/BlankCoordinate&gt;&#10;      &lt;BlankCoordinate&gt;&#10;        &lt;X&gt;8&lt;/X&gt;&#10;        &lt;Y&gt;2&lt;/Y&gt;&#10;      &lt;/BlankCoordinate&gt;&#10;      &lt;BlankCoordinate&gt;&#10;        &lt;X&gt;7&lt;/X&gt;&#10;        &lt;Y&gt;1&lt;/Y&gt;&#10;      &lt;/BlankCoordinate&gt;&#10;      &lt;BlankCoordinate&gt;&#10;        &lt;X&gt;5&lt;/X&gt;&#10;        &lt;Y&gt;1&lt;/Y&gt;&#10;      &lt;/BlankCoordinate&gt;&#10;      &lt;BlankCoordinate&gt;&#10;        &lt;X&gt;6&lt;/X&gt;&#10;        &lt;Y&gt;0&lt;/Y&gt;&#10;      &lt;/BlankCoordinate&gt;&#10;      &lt;BlankCoordinate&gt;&#10;        &lt;X&gt;-1&lt;/X&gt;&#10;        &lt;Y&gt;0&lt;/Y&gt;&#10;      &lt;/BlankCoordinate&gt;&#10;      &lt;BlankCoordinate&gt;&#10;        &lt;X&gt;-1&lt;/X&gt;&#10;        &lt;Y&gt;7&lt;/Y&gt;&#10;      &lt;/BlankCoordinate&gt;&#10;    &lt;/BlankCoordinates&gt;&#10;    &lt;ImageRightCropPercent&gt;0&lt;/ImageRightCropPercent&gt;&#10;    &lt;TotalRows&gt;7&lt;/TotalRows&gt;&#10;    &lt;TrianglesGridShiftPercent&gt;0&lt;/TrianglesGridShiftPercent&gt;&#10;    &lt;ImageBlankTopRows&gt;0&lt;/ImageBlankTopRows&gt;&#10;  &lt;/Design&gt;&#10;&lt;/ImageControl&gt;"/>
  <p:tag name="MMC_PRESENTATIONTYPE" val="2"/>
</p:tagLst>
</file>

<file path=ppt/theme/theme1.xml><?xml version="1.0" encoding="utf-8"?>
<a:theme xmlns:a="http://schemas.openxmlformats.org/drawingml/2006/main" name="2_Classic">
  <a:themeElements>
    <a:clrScheme name="SAPPHIR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2C77"/>
      </a:accent1>
      <a:accent2>
        <a:srgbClr val="006D9E"/>
      </a:accent2>
      <a:accent3>
        <a:srgbClr val="00A8C8"/>
      </a:accent3>
      <a:accent4>
        <a:srgbClr val="A6E2EF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MCo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6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Bright Emerald">
      <a:srgbClr val="72BE44"/>
    </a:custClr>
    <a:custClr name="Light Emerald">
      <a:srgbClr val="BDDDA3"/>
    </a:custClr>
    <a:custClr name="Bright Iolite">
      <a:srgbClr val="6F83C1"/>
    </a:custClr>
    <a:custClr name="Light Iolite">
      <a:srgbClr val="C4CAE6"/>
    </a:custClr>
    <a:custClr name="Bright Topaz">
      <a:srgbClr val="FBAE17"/>
    </a:custClr>
    <a:custClr name="Light Topaz">
      <a:srgbClr val="FFDDAC"/>
    </a:custClr>
    <a:custClr name="Bright Turquoise">
      <a:srgbClr val="0FB694"/>
    </a:custClr>
    <a:custClr name="Light Turquoise">
      <a:srgbClr val="A7D9C8"/>
    </a:custClr>
    <a:custClr name="Bright Citrine">
      <a:srgbClr val="F48132"/>
    </a:custClr>
    <a:custClr name="Light Citrine">
      <a:srgbClr val="FCCFAB"/>
    </a:custClr>
  </a:custClrLst>
</a:theme>
</file>

<file path=ppt/theme/theme2.xml><?xml version="1.0" encoding="utf-8"?>
<a:theme xmlns:a="http://schemas.openxmlformats.org/drawingml/2006/main" name="3_Classic">
  <a:themeElements>
    <a:clrScheme name="SAPPHIR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2C77"/>
      </a:accent1>
      <a:accent2>
        <a:srgbClr val="006D9E"/>
      </a:accent2>
      <a:accent3>
        <a:srgbClr val="00A8C8"/>
      </a:accent3>
      <a:accent4>
        <a:srgbClr val="A6E2EF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MCo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6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Bright Emerald">
      <a:srgbClr val="72BE44"/>
    </a:custClr>
    <a:custClr name="Light Emerald">
      <a:srgbClr val="BDDDA3"/>
    </a:custClr>
    <a:custClr name="Bright Iolite">
      <a:srgbClr val="6F83C1"/>
    </a:custClr>
    <a:custClr name="Light Iolite">
      <a:srgbClr val="C4CAE6"/>
    </a:custClr>
    <a:custClr name="Bright Topaz">
      <a:srgbClr val="FBAE17"/>
    </a:custClr>
    <a:custClr name="Light Topaz">
      <a:srgbClr val="FFDDAC"/>
    </a:custClr>
    <a:custClr name="Bright Turquoise">
      <a:srgbClr val="0FB694"/>
    </a:custClr>
    <a:custClr name="Light Turquoise">
      <a:srgbClr val="A7D9C8"/>
    </a:custClr>
    <a:custClr name="Bright Citrine">
      <a:srgbClr val="F48132"/>
    </a:custClr>
    <a:custClr name="Light Citrine">
      <a:srgbClr val="FCCFAB"/>
    </a:custClr>
  </a:custClrLst>
</a:theme>
</file>

<file path=ppt/theme/theme3.xml><?xml version="1.0" encoding="utf-8"?>
<a:theme xmlns:a="http://schemas.openxmlformats.org/drawingml/2006/main" name="4_Classic">
  <a:themeElements>
    <a:clrScheme name="SAPPHIR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2C77"/>
      </a:accent1>
      <a:accent2>
        <a:srgbClr val="006D9E"/>
      </a:accent2>
      <a:accent3>
        <a:srgbClr val="00A8C8"/>
      </a:accent3>
      <a:accent4>
        <a:srgbClr val="A6E2EF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MCo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6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Bright Emerald">
      <a:srgbClr val="72BE44"/>
    </a:custClr>
    <a:custClr name="Light Emerald">
      <a:srgbClr val="BDDDA3"/>
    </a:custClr>
    <a:custClr name="Bright Iolite">
      <a:srgbClr val="6F83C1"/>
    </a:custClr>
    <a:custClr name="Light Iolite">
      <a:srgbClr val="C4CAE6"/>
    </a:custClr>
    <a:custClr name="Bright Topaz">
      <a:srgbClr val="FBAE17"/>
    </a:custClr>
    <a:custClr name="Light Topaz">
      <a:srgbClr val="FFDDAC"/>
    </a:custClr>
    <a:custClr name="Bright Turquoise">
      <a:srgbClr val="0FB694"/>
    </a:custClr>
    <a:custClr name="Light Turquoise">
      <a:srgbClr val="A7D9C8"/>
    </a:custClr>
    <a:custClr name="Bright Citrine">
      <a:srgbClr val="F48132"/>
    </a:custClr>
    <a:custClr name="Light Citrine">
      <a:srgbClr val="FCCFAB"/>
    </a:custClr>
  </a:custClrLst>
</a:theme>
</file>

<file path=ppt/theme/theme4.xml><?xml version="1.0" encoding="utf-8"?>
<a:theme xmlns:a="http://schemas.openxmlformats.org/drawingml/2006/main" name="Office Theme">
  <a:themeElements>
    <a:clrScheme name="Custom 2">
      <a:dk1>
        <a:srgbClr val="7D7D7D"/>
      </a:dk1>
      <a:lt1>
        <a:sysClr val="window" lastClr="FFFFFF"/>
      </a:lt1>
      <a:dk2>
        <a:srgbClr val="002C77"/>
      </a:dk2>
      <a:lt2>
        <a:srgbClr val="EEECE1"/>
      </a:lt2>
      <a:accent1>
        <a:srgbClr val="00A8C8"/>
      </a:accent1>
      <a:accent2>
        <a:srgbClr val="A6E2EF"/>
      </a:accent2>
      <a:accent3>
        <a:srgbClr val="0FB694"/>
      </a:accent3>
      <a:accent4>
        <a:srgbClr val="A7D9C8"/>
      </a:accent4>
      <a:accent5>
        <a:srgbClr val="ED2C67"/>
      </a:accent5>
      <a:accent6>
        <a:srgbClr val="F7B6BB"/>
      </a:accent6>
      <a:hlink>
        <a:srgbClr val="002C77"/>
      </a:hlink>
      <a:folHlink>
        <a:srgbClr val="56005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wrap="square" rtlCol="0" anchor="ctr">
        <a:noAutofit/>
      </a:bodyPr>
      <a:lstStyle>
        <a:defPPr algn="ctr">
          <a:defRPr sz="1600" dirty="0">
            <a:solidFill>
              <a:schemeClr val="bg1"/>
            </a:solidFill>
            <a:latin typeface="Segoe UI" panose="020B0502040204020203" pitchFamily="34" charset="0"/>
            <a:cs typeface="Segoe UI" panose="020B0502040204020203" pitchFamily="34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ffectLst/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defRPr sz="1400" dirty="0" smtClean="0">
            <a:solidFill>
              <a:srgbClr val="FFFFFF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Office Theme">
  <a:themeElements>
    <a:clrScheme name="Custom 2">
      <a:dk1>
        <a:srgbClr val="7D7D7D"/>
      </a:dk1>
      <a:lt1>
        <a:sysClr val="window" lastClr="FFFFFF"/>
      </a:lt1>
      <a:dk2>
        <a:srgbClr val="002C77"/>
      </a:dk2>
      <a:lt2>
        <a:srgbClr val="EEECE1"/>
      </a:lt2>
      <a:accent1>
        <a:srgbClr val="00A8C8"/>
      </a:accent1>
      <a:accent2>
        <a:srgbClr val="A6E2EF"/>
      </a:accent2>
      <a:accent3>
        <a:srgbClr val="0FB694"/>
      </a:accent3>
      <a:accent4>
        <a:srgbClr val="A7D9C8"/>
      </a:accent4>
      <a:accent5>
        <a:srgbClr val="ED2C67"/>
      </a:accent5>
      <a:accent6>
        <a:srgbClr val="F7B6BB"/>
      </a:accent6>
      <a:hlink>
        <a:srgbClr val="002C77"/>
      </a:hlink>
      <a:folHlink>
        <a:srgbClr val="56005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wrap="square" rtlCol="0" anchor="ctr">
        <a:noAutofit/>
      </a:bodyPr>
      <a:lstStyle>
        <a:defPPr algn="ctr">
          <a:defRPr sz="1600" dirty="0">
            <a:solidFill>
              <a:schemeClr val="bg1"/>
            </a:solidFill>
            <a:latin typeface="Segoe UI" panose="020B0502040204020203" pitchFamily="34" charset="0"/>
            <a:cs typeface="Segoe UI" panose="020B0502040204020203" pitchFamily="34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ffectLst/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defRPr sz="1400" dirty="0" smtClean="0">
            <a:solidFill>
              <a:srgbClr val="FFFFFF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APPHIRE">
    <a:dk1>
      <a:srgbClr val="000000"/>
    </a:dk1>
    <a:lt1>
      <a:srgbClr val="FFFFFF"/>
    </a:lt1>
    <a:dk2>
      <a:srgbClr val="1F497D"/>
    </a:dk2>
    <a:lt2>
      <a:srgbClr val="EEECE1"/>
    </a:lt2>
    <a:accent1>
      <a:srgbClr val="002C77"/>
    </a:accent1>
    <a:accent2>
      <a:srgbClr val="006D9E"/>
    </a:accent2>
    <a:accent3>
      <a:srgbClr val="00A8C8"/>
    </a:accent3>
    <a:accent4>
      <a:srgbClr val="A6E2EF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MMCo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8631407A6B3D42917508811A0C092E" ma:contentTypeVersion="0" ma:contentTypeDescription="Create a new document." ma:contentTypeScope="" ma:versionID="88a97a40d1617ff79c7dd39d4e7dcaf8">
  <xsd:schema xmlns:xsd="http://www.w3.org/2001/XMLSchema" xmlns:xs="http://www.w3.org/2001/XMLSchema" xmlns:p="http://schemas.microsoft.com/office/2006/metadata/properties" xmlns:ns2="bdb923d3-2dae-4f59-a8f7-ec97bb8a3e3e" targetNamespace="http://schemas.microsoft.com/office/2006/metadata/properties" ma:root="true" ma:fieldsID="e5650a8657da7c8e153a01494a3cc06d" ns2:_="">
    <xsd:import namespace="bdb923d3-2dae-4f59-a8f7-ec97bb8a3e3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b923d3-2dae-4f59-a8f7-ec97bb8a3e3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db923d3-2dae-4f59-a8f7-ec97bb8a3e3e">UFEEWPU6MDMY-16-8</_dlc_DocId>
    <_dlc_DocIdUrl xmlns="bdb923d3-2dae-4f59-a8f7-ec97bb8a3e3e">
      <Url>http://sites.mercer.com/sites/Branding/_layouts/DocIdRedir.aspx?ID=UFEEWPU6MDMY-16-8</Url>
      <Description>UFEEWPU6MDMY-16-8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3A66794-66A0-4728-A958-E82C7E6A67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b923d3-2dae-4f59-a8f7-ec97bb8a3e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263B4F-0944-48C4-8759-D87B52D693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FDD5E2-B141-4909-B45A-00180CC91286}">
  <ds:schemaRefs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bdb923d3-2dae-4f59-a8f7-ec97bb8a3e3e"/>
    <ds:schemaRef ds:uri="http://schemas.microsoft.com/office/infopath/2007/PartnerControls"/>
    <ds:schemaRef ds:uri="http://www.w3.org/XML/1998/namespace"/>
    <ds:schemaRef ds:uri="http://purl.org/dc/dcmitype/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29A32C5C-19F8-4D56-8281-8B0D487A72E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61</TotalTime>
  <Words>220</Words>
  <Application>Microsoft Office PowerPoint</Application>
  <PresentationFormat>Custom</PresentationFormat>
  <Paragraphs>62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2_Classic</vt:lpstr>
      <vt:lpstr>3_Classic</vt:lpstr>
      <vt:lpstr>4_Classic</vt:lpstr>
      <vt:lpstr>Office Theme</vt:lpstr>
      <vt:lpstr>1_Office Theme</vt:lpstr>
      <vt:lpstr>2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Rakshys</dc:creator>
  <dc:description>Mercer Templates
Marsh &amp; McLennan Companies</dc:description>
  <cp:lastModifiedBy>Radhika Katyal</cp:lastModifiedBy>
  <cp:revision>802</cp:revision>
  <cp:lastPrinted>2013-10-29T17:46:37Z</cp:lastPrinted>
  <dcterms:created xsi:type="dcterms:W3CDTF">2013-10-29T17:38:18Z</dcterms:created>
  <dcterms:modified xsi:type="dcterms:W3CDTF">2021-04-22T06:2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Classic</vt:lpwstr>
  </property>
  <property fmtid="{D5CDD505-2E9C-101B-9397-08002B2CF9AE}" pid="3" name="TemplateVersion">
    <vt:lpwstr>6.0</vt:lpwstr>
  </property>
  <property fmtid="{D5CDD505-2E9C-101B-9397-08002B2CF9AE}" pid="4" name="ContentTypeId">
    <vt:lpwstr>0x010100E28631407A6B3D42917508811A0C092E</vt:lpwstr>
  </property>
  <property fmtid="{D5CDD505-2E9C-101B-9397-08002B2CF9AE}" pid="5" name="_dlc_DocIdItemGuid">
    <vt:lpwstr>05e88f5c-f6e5-4600-8703-f06275531b57</vt:lpwstr>
  </property>
</Properties>
</file>